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9" r:id="rId4"/>
    <p:sldMasterId id="2147484034" r:id="rId5"/>
    <p:sldMasterId id="2147484119" r:id="rId6"/>
    <p:sldMasterId id="2147484154" r:id="rId7"/>
    <p:sldMasterId id="2147484166" r:id="rId8"/>
  </p:sldMasterIdLst>
  <p:notesMasterIdLst>
    <p:notesMasterId r:id="rId11"/>
  </p:notesMasterIdLst>
  <p:sldIdLst>
    <p:sldId id="2147471574" r:id="rId9"/>
    <p:sldId id="2147471575" r:id="rId10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7139"/>
    <a:srgbClr val="309049"/>
    <a:srgbClr val="FF3700"/>
    <a:srgbClr val="3366FF"/>
    <a:srgbClr val="0070C0"/>
    <a:srgbClr val="A8C8F6"/>
    <a:srgbClr val="90B8F4"/>
    <a:srgbClr val="0099FF"/>
    <a:srgbClr val="9BD4FF"/>
    <a:srgbClr val="85C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96BB822-77AE-45F6-8F8D-52DA7A85F5F9}" v="30" dt="2023-11-29T13:23:53.6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Estilo oscuro 2 - Énfasis 3/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Estilo oscuro 2 - Énfasis 1/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Estilo o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FABFCF23-3B69-468F-B69F-88F6DE6A72F2}" styleName="Estilo medio 1 - Énfasis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Estilo medio 1 - Énfasi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114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dia, Mayda" userId="6e0adc47-4ca1-42c6-a9cf-5a9c105ab15f" providerId="ADAL" clId="{C67CBC74-2BB1-4968-86A8-95C9D870F665}"/>
    <pc:docChg chg="custSel delSld modSld addMainMaster modMainMaster">
      <pc:chgData name="Bedia, Mayda" userId="6e0adc47-4ca1-42c6-a9cf-5a9c105ab15f" providerId="ADAL" clId="{C67CBC74-2BB1-4968-86A8-95C9D870F665}" dt="2023-10-31T10:58:34.976" v="1777" actId="1035"/>
      <pc:docMkLst>
        <pc:docMk/>
      </pc:docMkLst>
      <pc:sldChg chg="del">
        <pc:chgData name="Bedia, Mayda" userId="6e0adc47-4ca1-42c6-a9cf-5a9c105ab15f" providerId="ADAL" clId="{C67CBC74-2BB1-4968-86A8-95C9D870F665}" dt="2023-10-31T10:44:33.007" v="1707" actId="47"/>
        <pc:sldMkLst>
          <pc:docMk/>
          <pc:sldMk cId="1416133257" sldId="495"/>
        </pc:sldMkLst>
      </pc:sldChg>
      <pc:sldChg chg="del">
        <pc:chgData name="Bedia, Mayda" userId="6e0adc47-4ca1-42c6-a9cf-5a9c105ab15f" providerId="ADAL" clId="{C67CBC74-2BB1-4968-86A8-95C9D870F665}" dt="2023-10-31T10:44:31.367" v="1706" actId="47"/>
        <pc:sldMkLst>
          <pc:docMk/>
          <pc:sldMk cId="3471810741" sldId="1065"/>
        </pc:sldMkLst>
      </pc:sldChg>
      <pc:sldChg chg="del">
        <pc:chgData name="Bedia, Mayda" userId="6e0adc47-4ca1-42c6-a9cf-5a9c105ab15f" providerId="ADAL" clId="{C67CBC74-2BB1-4968-86A8-95C9D870F665}" dt="2023-10-31T10:44:28.606" v="1705" actId="47"/>
        <pc:sldMkLst>
          <pc:docMk/>
          <pc:sldMk cId="1677874801" sldId="2147471573"/>
        </pc:sldMkLst>
      </pc:sldChg>
      <pc:sldChg chg="addSp delSp modSp mod">
        <pc:chgData name="Bedia, Mayda" userId="6e0adc47-4ca1-42c6-a9cf-5a9c105ab15f" providerId="ADAL" clId="{C67CBC74-2BB1-4968-86A8-95C9D870F665}" dt="2023-10-31T10:58:34.976" v="1777" actId="1035"/>
        <pc:sldMkLst>
          <pc:docMk/>
          <pc:sldMk cId="3725800249" sldId="2147471574"/>
        </pc:sldMkLst>
        <pc:spChg chg="mod">
          <ac:chgData name="Bedia, Mayda" userId="6e0adc47-4ca1-42c6-a9cf-5a9c105ab15f" providerId="ADAL" clId="{C67CBC74-2BB1-4968-86A8-95C9D870F665}" dt="2023-10-31T10:58:34.976" v="1777" actId="1035"/>
          <ac:spMkLst>
            <pc:docMk/>
            <pc:sldMk cId="3725800249" sldId="2147471574"/>
            <ac:spMk id="2" creationId="{D169643A-5CAA-4239-9DBB-59E4D851F247}"/>
          </ac:spMkLst>
        </pc:spChg>
        <pc:spChg chg="add del mod">
          <ac:chgData name="Bedia, Mayda" userId="6e0adc47-4ca1-42c6-a9cf-5a9c105ab15f" providerId="ADAL" clId="{C67CBC74-2BB1-4968-86A8-95C9D870F665}" dt="2023-10-31T10:44:22.362" v="1704" actId="478"/>
          <ac:spMkLst>
            <pc:docMk/>
            <pc:sldMk cId="3725800249" sldId="2147471574"/>
            <ac:spMk id="3" creationId="{7423D085-5583-4FF8-96E4-13679B977ED9}"/>
          </ac:spMkLst>
        </pc:spChg>
        <pc:spChg chg="del">
          <ac:chgData name="Bedia, Mayda" userId="6e0adc47-4ca1-42c6-a9cf-5a9c105ab15f" providerId="ADAL" clId="{C67CBC74-2BB1-4968-86A8-95C9D870F665}" dt="2023-10-31T10:18:34.678" v="298" actId="478"/>
          <ac:spMkLst>
            <pc:docMk/>
            <pc:sldMk cId="3725800249" sldId="2147471574"/>
            <ac:spMk id="4" creationId="{CAE454EA-6736-447F-9703-2FC8492181B2}"/>
          </ac:spMkLst>
        </pc:spChg>
        <pc:spChg chg="del">
          <ac:chgData name="Bedia, Mayda" userId="6e0adc47-4ca1-42c6-a9cf-5a9c105ab15f" providerId="ADAL" clId="{C67CBC74-2BB1-4968-86A8-95C9D870F665}" dt="2023-10-31T10:18:30.129" v="296" actId="478"/>
          <ac:spMkLst>
            <pc:docMk/>
            <pc:sldMk cId="3725800249" sldId="2147471574"/>
            <ac:spMk id="5" creationId="{51ECA74D-5975-4A5A-BC1D-4890C74E7989}"/>
          </ac:spMkLst>
        </pc:spChg>
        <pc:spChg chg="del mod">
          <ac:chgData name="Bedia, Mayda" userId="6e0adc47-4ca1-42c6-a9cf-5a9c105ab15f" providerId="ADAL" clId="{C67CBC74-2BB1-4968-86A8-95C9D870F665}" dt="2023-10-31T10:18:35.904" v="299" actId="478"/>
          <ac:spMkLst>
            <pc:docMk/>
            <pc:sldMk cId="3725800249" sldId="2147471574"/>
            <ac:spMk id="6" creationId="{5772EC35-4E90-49C7-A74B-649D24992C96}"/>
          </ac:spMkLst>
        </pc:spChg>
        <pc:spChg chg="del">
          <ac:chgData name="Bedia, Mayda" userId="6e0adc47-4ca1-42c6-a9cf-5a9c105ab15f" providerId="ADAL" clId="{C67CBC74-2BB1-4968-86A8-95C9D870F665}" dt="2023-10-31T10:18:28.848" v="295" actId="478"/>
          <ac:spMkLst>
            <pc:docMk/>
            <pc:sldMk cId="3725800249" sldId="2147471574"/>
            <ac:spMk id="7" creationId="{B7715962-3EB9-4EC4-9122-EC33C21C0C49}"/>
          </ac:spMkLst>
        </pc:spChg>
        <pc:graphicFrameChg chg="mod modGraphic">
          <ac:chgData name="Bedia, Mayda" userId="6e0adc47-4ca1-42c6-a9cf-5a9c105ab15f" providerId="ADAL" clId="{C67CBC74-2BB1-4968-86A8-95C9D870F665}" dt="2023-10-31T10:58:34.976" v="1777" actId="1035"/>
          <ac:graphicFrameMkLst>
            <pc:docMk/>
            <pc:sldMk cId="3725800249" sldId="2147471574"/>
            <ac:graphicFrameMk id="8" creationId="{E067C03B-EEAD-4200-8F69-9B10A90025DC}"/>
          </ac:graphicFrameMkLst>
        </pc:graphicFrameChg>
      </pc:sldChg>
      <pc:sldChg chg="delSp modSp mod">
        <pc:chgData name="Bedia, Mayda" userId="6e0adc47-4ca1-42c6-a9cf-5a9c105ab15f" providerId="ADAL" clId="{C67CBC74-2BB1-4968-86A8-95C9D870F665}" dt="2023-10-31T10:56:14.149" v="1758" actId="478"/>
        <pc:sldMkLst>
          <pc:docMk/>
          <pc:sldMk cId="2409749467" sldId="2147471575"/>
        </pc:sldMkLst>
        <pc:spChg chg="mod">
          <ac:chgData name="Bedia, Mayda" userId="6e0adc47-4ca1-42c6-a9cf-5a9c105ab15f" providerId="ADAL" clId="{C67CBC74-2BB1-4968-86A8-95C9D870F665}" dt="2023-10-31T10:56:08.422" v="1757" actId="20577"/>
          <ac:spMkLst>
            <pc:docMk/>
            <pc:sldMk cId="2409749467" sldId="2147471575"/>
            <ac:spMk id="3" creationId="{9CB4FC56-0F51-48D2-85FA-6C27D981FCA0}"/>
          </ac:spMkLst>
        </pc:spChg>
        <pc:spChg chg="del">
          <ac:chgData name="Bedia, Mayda" userId="6e0adc47-4ca1-42c6-a9cf-5a9c105ab15f" providerId="ADAL" clId="{C67CBC74-2BB1-4968-86A8-95C9D870F665}" dt="2023-10-31T10:56:14.149" v="1758" actId="478"/>
          <ac:spMkLst>
            <pc:docMk/>
            <pc:sldMk cId="2409749467" sldId="2147471575"/>
            <ac:spMk id="4" creationId="{3D61AEB1-0686-4A4A-B8D0-67D46F2C1F3C}"/>
          </ac:spMkLst>
        </pc:spChg>
        <pc:spChg chg="del">
          <ac:chgData name="Bedia, Mayda" userId="6e0adc47-4ca1-42c6-a9cf-5a9c105ab15f" providerId="ADAL" clId="{C67CBC74-2BB1-4968-86A8-95C9D870F665}" dt="2023-10-31T10:56:14.149" v="1758" actId="478"/>
          <ac:spMkLst>
            <pc:docMk/>
            <pc:sldMk cId="2409749467" sldId="2147471575"/>
            <ac:spMk id="5" creationId="{F26DDB0C-CB0D-4920-A1EA-724CEC791E59}"/>
          </ac:spMkLst>
        </pc:spChg>
        <pc:spChg chg="del">
          <ac:chgData name="Bedia, Mayda" userId="6e0adc47-4ca1-42c6-a9cf-5a9c105ab15f" providerId="ADAL" clId="{C67CBC74-2BB1-4968-86A8-95C9D870F665}" dt="2023-10-31T10:56:14.149" v="1758" actId="478"/>
          <ac:spMkLst>
            <pc:docMk/>
            <pc:sldMk cId="2409749467" sldId="2147471575"/>
            <ac:spMk id="6" creationId="{6E8B4C41-96BA-49A0-9FD8-93B697424D4F}"/>
          </ac:spMkLst>
        </pc:spChg>
        <pc:spChg chg="del">
          <ac:chgData name="Bedia, Mayda" userId="6e0adc47-4ca1-42c6-a9cf-5a9c105ab15f" providerId="ADAL" clId="{C67CBC74-2BB1-4968-86A8-95C9D870F665}" dt="2023-10-31T10:56:14.149" v="1758" actId="478"/>
          <ac:spMkLst>
            <pc:docMk/>
            <pc:sldMk cId="2409749467" sldId="2147471575"/>
            <ac:spMk id="7" creationId="{A85272DF-F3BF-4324-BBE7-8D2FA68A6A96}"/>
          </ac:spMkLst>
        </pc:spChg>
      </pc:sldChg>
      <pc:sldMasterChg chg="modSldLayout">
        <pc:chgData name="Bedia, Mayda" userId="6e0adc47-4ca1-42c6-a9cf-5a9c105ab15f" providerId="ADAL" clId="{C67CBC74-2BB1-4968-86A8-95C9D870F665}" dt="2023-10-31T10:57:14.791" v="1764"/>
        <pc:sldMasterMkLst>
          <pc:docMk/>
          <pc:sldMasterMk cId="1324022404" sldId="2147484119"/>
        </pc:sldMasterMkLst>
        <pc:sldLayoutChg chg="addSp delSp modSp mod">
          <pc:chgData name="Bedia, Mayda" userId="6e0adc47-4ca1-42c6-a9cf-5a9c105ab15f" providerId="ADAL" clId="{C67CBC74-2BB1-4968-86A8-95C9D870F665}" dt="2023-10-31T10:57:14.791" v="1764"/>
          <pc:sldLayoutMkLst>
            <pc:docMk/>
            <pc:sldMasterMk cId="1324022404" sldId="2147484119"/>
            <pc:sldLayoutMk cId="3165892829" sldId="2147484122"/>
          </pc:sldLayoutMkLst>
          <pc:spChg chg="del">
            <ac:chgData name="Bedia, Mayda" userId="6e0adc47-4ca1-42c6-a9cf-5a9c105ab15f" providerId="ADAL" clId="{C67CBC74-2BB1-4968-86A8-95C9D870F665}" dt="2023-10-31T10:57:14.791" v="1764"/>
            <ac:spMkLst>
              <pc:docMk/>
              <pc:sldMasterMk cId="1324022404" sldId="2147484119"/>
              <pc:sldLayoutMk cId="3165892829" sldId="2147484122"/>
              <ac:spMk id="2" creationId="{00000000-0000-0000-0000-000000000000}"/>
            </ac:spMkLst>
          </pc:spChg>
          <pc:spChg chg="add del mod">
            <ac:chgData name="Bedia, Mayda" userId="6e0adc47-4ca1-42c6-a9cf-5a9c105ab15f" providerId="ADAL" clId="{C67CBC74-2BB1-4968-86A8-95C9D870F665}" dt="2023-10-31T10:57:09.380" v="1763" actId="478"/>
            <ac:spMkLst>
              <pc:docMk/>
              <pc:sldMasterMk cId="1324022404" sldId="2147484119"/>
              <pc:sldLayoutMk cId="3165892829" sldId="2147484122"/>
              <ac:spMk id="4" creationId="{08F01863-9BB2-48BD-9962-E5B420E804EB}"/>
            </ac:spMkLst>
          </pc:spChg>
          <pc:spChg chg="del">
            <ac:chgData name="Bedia, Mayda" userId="6e0adc47-4ca1-42c6-a9cf-5a9c105ab15f" providerId="ADAL" clId="{C67CBC74-2BB1-4968-86A8-95C9D870F665}" dt="2023-10-31T10:57:02.134" v="1760"/>
            <ac:spMkLst>
              <pc:docMk/>
              <pc:sldMasterMk cId="1324022404" sldId="2147484119"/>
              <pc:sldLayoutMk cId="3165892829" sldId="2147484122"/>
              <ac:spMk id="8" creationId="{81D067FA-704F-4565-BD79-FEDF669F1EFC}"/>
            </ac:spMkLst>
          </pc:spChg>
          <pc:spChg chg="del">
            <ac:chgData name="Bedia, Mayda" userId="6e0adc47-4ca1-42c6-a9cf-5a9c105ab15f" providerId="ADAL" clId="{C67CBC74-2BB1-4968-86A8-95C9D870F665}" dt="2023-10-31T10:57:05.550" v="1761" actId="478"/>
            <ac:spMkLst>
              <pc:docMk/>
              <pc:sldMasterMk cId="1324022404" sldId="2147484119"/>
              <pc:sldLayoutMk cId="3165892829" sldId="2147484122"/>
              <ac:spMk id="9" creationId="{713FA47A-9E60-7C45-BAC1-5BB4D7BFA807}"/>
            </ac:spMkLst>
          </pc:spChg>
          <pc:spChg chg="del">
            <ac:chgData name="Bedia, Mayda" userId="6e0adc47-4ca1-42c6-a9cf-5a9c105ab15f" providerId="ADAL" clId="{C67CBC74-2BB1-4968-86A8-95C9D870F665}" dt="2023-10-31T10:57:02.134" v="1760"/>
            <ac:spMkLst>
              <pc:docMk/>
              <pc:sldMasterMk cId="1324022404" sldId="2147484119"/>
              <pc:sldLayoutMk cId="3165892829" sldId="2147484122"/>
              <ac:spMk id="13" creationId="{E393F749-AC7C-4FC3-8474-84925B26C13D}"/>
            </ac:spMkLst>
          </pc:spChg>
          <pc:spChg chg="del">
            <ac:chgData name="Bedia, Mayda" userId="6e0adc47-4ca1-42c6-a9cf-5a9c105ab15f" providerId="ADAL" clId="{C67CBC74-2BB1-4968-86A8-95C9D870F665}" dt="2023-10-31T10:57:02.134" v="1760"/>
            <ac:spMkLst>
              <pc:docMk/>
              <pc:sldMasterMk cId="1324022404" sldId="2147484119"/>
              <pc:sldLayoutMk cId="3165892829" sldId="2147484122"/>
              <ac:spMk id="14" creationId="{CDF99922-1635-4F71-88B4-1E28F3F26AB4}"/>
            </ac:spMkLst>
          </pc:spChg>
        </pc:sldLayoutChg>
      </pc:sldMasterChg>
      <pc:sldMasterChg chg="new mod addSldLayout">
        <pc:chgData name="Bedia, Mayda" userId="6e0adc47-4ca1-42c6-a9cf-5a9c105ab15f" providerId="ADAL" clId="{C67CBC74-2BB1-4968-86A8-95C9D870F665}" dt="2023-10-31T10:57:36.565" v="1765" actId="6938"/>
        <pc:sldMasterMkLst>
          <pc:docMk/>
          <pc:sldMasterMk cId="3766454803" sldId="2147484154"/>
        </pc:sldMasterMkLst>
        <pc:sldLayoutChg chg="new replId">
          <pc:chgData name="Bedia, Mayda" userId="6e0adc47-4ca1-42c6-a9cf-5a9c105ab15f" providerId="ADAL" clId="{C67CBC74-2BB1-4968-86A8-95C9D870F665}" dt="2023-10-31T10:57:36.565" v="1765" actId="6938"/>
          <pc:sldLayoutMkLst>
            <pc:docMk/>
            <pc:sldMasterMk cId="3766454803" sldId="2147484154"/>
            <pc:sldLayoutMk cId="4180069714" sldId="2147484155"/>
          </pc:sldLayoutMkLst>
        </pc:sldLayoutChg>
        <pc:sldLayoutChg chg="new replId">
          <pc:chgData name="Bedia, Mayda" userId="6e0adc47-4ca1-42c6-a9cf-5a9c105ab15f" providerId="ADAL" clId="{C67CBC74-2BB1-4968-86A8-95C9D870F665}" dt="2023-10-31T10:57:36.565" v="1765" actId="6938"/>
          <pc:sldLayoutMkLst>
            <pc:docMk/>
            <pc:sldMasterMk cId="3766454803" sldId="2147484154"/>
            <pc:sldLayoutMk cId="2279782707" sldId="2147484156"/>
          </pc:sldLayoutMkLst>
        </pc:sldLayoutChg>
        <pc:sldLayoutChg chg="new replId">
          <pc:chgData name="Bedia, Mayda" userId="6e0adc47-4ca1-42c6-a9cf-5a9c105ab15f" providerId="ADAL" clId="{C67CBC74-2BB1-4968-86A8-95C9D870F665}" dt="2023-10-31T10:57:36.565" v="1765" actId="6938"/>
          <pc:sldLayoutMkLst>
            <pc:docMk/>
            <pc:sldMasterMk cId="3766454803" sldId="2147484154"/>
            <pc:sldLayoutMk cId="727572124" sldId="2147484157"/>
          </pc:sldLayoutMkLst>
        </pc:sldLayoutChg>
        <pc:sldLayoutChg chg="new replId">
          <pc:chgData name="Bedia, Mayda" userId="6e0adc47-4ca1-42c6-a9cf-5a9c105ab15f" providerId="ADAL" clId="{C67CBC74-2BB1-4968-86A8-95C9D870F665}" dt="2023-10-31T10:57:36.565" v="1765" actId="6938"/>
          <pc:sldLayoutMkLst>
            <pc:docMk/>
            <pc:sldMasterMk cId="3766454803" sldId="2147484154"/>
            <pc:sldLayoutMk cId="1328877161" sldId="2147484158"/>
          </pc:sldLayoutMkLst>
        </pc:sldLayoutChg>
        <pc:sldLayoutChg chg="new replId">
          <pc:chgData name="Bedia, Mayda" userId="6e0adc47-4ca1-42c6-a9cf-5a9c105ab15f" providerId="ADAL" clId="{C67CBC74-2BB1-4968-86A8-95C9D870F665}" dt="2023-10-31T10:57:36.565" v="1765" actId="6938"/>
          <pc:sldLayoutMkLst>
            <pc:docMk/>
            <pc:sldMasterMk cId="3766454803" sldId="2147484154"/>
            <pc:sldLayoutMk cId="2928394883" sldId="2147484159"/>
          </pc:sldLayoutMkLst>
        </pc:sldLayoutChg>
        <pc:sldLayoutChg chg="new replId">
          <pc:chgData name="Bedia, Mayda" userId="6e0adc47-4ca1-42c6-a9cf-5a9c105ab15f" providerId="ADAL" clId="{C67CBC74-2BB1-4968-86A8-95C9D870F665}" dt="2023-10-31T10:57:36.565" v="1765" actId="6938"/>
          <pc:sldLayoutMkLst>
            <pc:docMk/>
            <pc:sldMasterMk cId="3766454803" sldId="2147484154"/>
            <pc:sldLayoutMk cId="4137096418" sldId="2147484160"/>
          </pc:sldLayoutMkLst>
        </pc:sldLayoutChg>
        <pc:sldLayoutChg chg="new replId">
          <pc:chgData name="Bedia, Mayda" userId="6e0adc47-4ca1-42c6-a9cf-5a9c105ab15f" providerId="ADAL" clId="{C67CBC74-2BB1-4968-86A8-95C9D870F665}" dt="2023-10-31T10:57:36.565" v="1765" actId="6938"/>
          <pc:sldLayoutMkLst>
            <pc:docMk/>
            <pc:sldMasterMk cId="3766454803" sldId="2147484154"/>
            <pc:sldLayoutMk cId="1788874752" sldId="2147484161"/>
          </pc:sldLayoutMkLst>
        </pc:sldLayoutChg>
        <pc:sldLayoutChg chg="new replId">
          <pc:chgData name="Bedia, Mayda" userId="6e0adc47-4ca1-42c6-a9cf-5a9c105ab15f" providerId="ADAL" clId="{C67CBC74-2BB1-4968-86A8-95C9D870F665}" dt="2023-10-31T10:57:36.565" v="1765" actId="6938"/>
          <pc:sldLayoutMkLst>
            <pc:docMk/>
            <pc:sldMasterMk cId="3766454803" sldId="2147484154"/>
            <pc:sldLayoutMk cId="4257497136" sldId="2147484162"/>
          </pc:sldLayoutMkLst>
        </pc:sldLayoutChg>
        <pc:sldLayoutChg chg="new replId">
          <pc:chgData name="Bedia, Mayda" userId="6e0adc47-4ca1-42c6-a9cf-5a9c105ab15f" providerId="ADAL" clId="{C67CBC74-2BB1-4968-86A8-95C9D870F665}" dt="2023-10-31T10:57:36.565" v="1765" actId="6938"/>
          <pc:sldLayoutMkLst>
            <pc:docMk/>
            <pc:sldMasterMk cId="3766454803" sldId="2147484154"/>
            <pc:sldLayoutMk cId="1573810422" sldId="2147484163"/>
          </pc:sldLayoutMkLst>
        </pc:sldLayoutChg>
        <pc:sldLayoutChg chg="new replId">
          <pc:chgData name="Bedia, Mayda" userId="6e0adc47-4ca1-42c6-a9cf-5a9c105ab15f" providerId="ADAL" clId="{C67CBC74-2BB1-4968-86A8-95C9D870F665}" dt="2023-10-31T10:57:36.565" v="1765" actId="6938"/>
          <pc:sldLayoutMkLst>
            <pc:docMk/>
            <pc:sldMasterMk cId="3766454803" sldId="2147484154"/>
            <pc:sldLayoutMk cId="3371554586" sldId="2147484164"/>
          </pc:sldLayoutMkLst>
        </pc:sldLayoutChg>
        <pc:sldLayoutChg chg="new replId">
          <pc:chgData name="Bedia, Mayda" userId="6e0adc47-4ca1-42c6-a9cf-5a9c105ab15f" providerId="ADAL" clId="{C67CBC74-2BB1-4968-86A8-95C9D870F665}" dt="2023-10-31T10:57:36.565" v="1765" actId="6938"/>
          <pc:sldLayoutMkLst>
            <pc:docMk/>
            <pc:sldMasterMk cId="3766454803" sldId="2147484154"/>
            <pc:sldLayoutMk cId="3883289696" sldId="2147484165"/>
          </pc:sldLayoutMkLst>
        </pc:sldLayoutChg>
      </pc:sldMasterChg>
      <pc:sldMasterChg chg="new mod addSldLayout">
        <pc:chgData name="Bedia, Mayda" userId="6e0adc47-4ca1-42c6-a9cf-5a9c105ab15f" providerId="ADAL" clId="{C67CBC74-2BB1-4968-86A8-95C9D870F665}" dt="2023-10-31T10:57:37.534" v="1766" actId="6938"/>
        <pc:sldMasterMkLst>
          <pc:docMk/>
          <pc:sldMasterMk cId="270937638" sldId="2147484166"/>
        </pc:sldMasterMkLst>
        <pc:sldLayoutChg chg="new replId">
          <pc:chgData name="Bedia, Mayda" userId="6e0adc47-4ca1-42c6-a9cf-5a9c105ab15f" providerId="ADAL" clId="{C67CBC74-2BB1-4968-86A8-95C9D870F665}" dt="2023-10-31T10:57:37.534" v="1766" actId="6938"/>
          <pc:sldLayoutMkLst>
            <pc:docMk/>
            <pc:sldMasterMk cId="270937638" sldId="2147484166"/>
            <pc:sldLayoutMk cId="2596651892" sldId="2147484167"/>
          </pc:sldLayoutMkLst>
        </pc:sldLayoutChg>
        <pc:sldLayoutChg chg="new replId">
          <pc:chgData name="Bedia, Mayda" userId="6e0adc47-4ca1-42c6-a9cf-5a9c105ab15f" providerId="ADAL" clId="{C67CBC74-2BB1-4968-86A8-95C9D870F665}" dt="2023-10-31T10:57:37.534" v="1766" actId="6938"/>
          <pc:sldLayoutMkLst>
            <pc:docMk/>
            <pc:sldMasterMk cId="270937638" sldId="2147484166"/>
            <pc:sldLayoutMk cId="2737053999" sldId="2147484168"/>
          </pc:sldLayoutMkLst>
        </pc:sldLayoutChg>
        <pc:sldLayoutChg chg="new replId">
          <pc:chgData name="Bedia, Mayda" userId="6e0adc47-4ca1-42c6-a9cf-5a9c105ab15f" providerId="ADAL" clId="{C67CBC74-2BB1-4968-86A8-95C9D870F665}" dt="2023-10-31T10:57:37.534" v="1766" actId="6938"/>
          <pc:sldLayoutMkLst>
            <pc:docMk/>
            <pc:sldMasterMk cId="270937638" sldId="2147484166"/>
            <pc:sldLayoutMk cId="3664444830" sldId="2147484169"/>
          </pc:sldLayoutMkLst>
        </pc:sldLayoutChg>
        <pc:sldLayoutChg chg="new replId">
          <pc:chgData name="Bedia, Mayda" userId="6e0adc47-4ca1-42c6-a9cf-5a9c105ab15f" providerId="ADAL" clId="{C67CBC74-2BB1-4968-86A8-95C9D870F665}" dt="2023-10-31T10:57:37.534" v="1766" actId="6938"/>
          <pc:sldLayoutMkLst>
            <pc:docMk/>
            <pc:sldMasterMk cId="270937638" sldId="2147484166"/>
            <pc:sldLayoutMk cId="734949745" sldId="2147484170"/>
          </pc:sldLayoutMkLst>
        </pc:sldLayoutChg>
        <pc:sldLayoutChg chg="new replId">
          <pc:chgData name="Bedia, Mayda" userId="6e0adc47-4ca1-42c6-a9cf-5a9c105ab15f" providerId="ADAL" clId="{C67CBC74-2BB1-4968-86A8-95C9D870F665}" dt="2023-10-31T10:57:37.534" v="1766" actId="6938"/>
          <pc:sldLayoutMkLst>
            <pc:docMk/>
            <pc:sldMasterMk cId="270937638" sldId="2147484166"/>
            <pc:sldLayoutMk cId="3228098138" sldId="2147484171"/>
          </pc:sldLayoutMkLst>
        </pc:sldLayoutChg>
        <pc:sldLayoutChg chg="new replId">
          <pc:chgData name="Bedia, Mayda" userId="6e0adc47-4ca1-42c6-a9cf-5a9c105ab15f" providerId="ADAL" clId="{C67CBC74-2BB1-4968-86A8-95C9D870F665}" dt="2023-10-31T10:57:37.534" v="1766" actId="6938"/>
          <pc:sldLayoutMkLst>
            <pc:docMk/>
            <pc:sldMasterMk cId="270937638" sldId="2147484166"/>
            <pc:sldLayoutMk cId="4169186763" sldId="2147484172"/>
          </pc:sldLayoutMkLst>
        </pc:sldLayoutChg>
        <pc:sldLayoutChg chg="new replId">
          <pc:chgData name="Bedia, Mayda" userId="6e0adc47-4ca1-42c6-a9cf-5a9c105ab15f" providerId="ADAL" clId="{C67CBC74-2BB1-4968-86A8-95C9D870F665}" dt="2023-10-31T10:57:37.534" v="1766" actId="6938"/>
          <pc:sldLayoutMkLst>
            <pc:docMk/>
            <pc:sldMasterMk cId="270937638" sldId="2147484166"/>
            <pc:sldLayoutMk cId="3417241553" sldId="2147484173"/>
          </pc:sldLayoutMkLst>
        </pc:sldLayoutChg>
        <pc:sldLayoutChg chg="new replId">
          <pc:chgData name="Bedia, Mayda" userId="6e0adc47-4ca1-42c6-a9cf-5a9c105ab15f" providerId="ADAL" clId="{C67CBC74-2BB1-4968-86A8-95C9D870F665}" dt="2023-10-31T10:57:37.534" v="1766" actId="6938"/>
          <pc:sldLayoutMkLst>
            <pc:docMk/>
            <pc:sldMasterMk cId="270937638" sldId="2147484166"/>
            <pc:sldLayoutMk cId="4084037620" sldId="2147484174"/>
          </pc:sldLayoutMkLst>
        </pc:sldLayoutChg>
        <pc:sldLayoutChg chg="new replId">
          <pc:chgData name="Bedia, Mayda" userId="6e0adc47-4ca1-42c6-a9cf-5a9c105ab15f" providerId="ADAL" clId="{C67CBC74-2BB1-4968-86A8-95C9D870F665}" dt="2023-10-31T10:57:37.534" v="1766" actId="6938"/>
          <pc:sldLayoutMkLst>
            <pc:docMk/>
            <pc:sldMasterMk cId="270937638" sldId="2147484166"/>
            <pc:sldLayoutMk cId="2713410435" sldId="2147484175"/>
          </pc:sldLayoutMkLst>
        </pc:sldLayoutChg>
        <pc:sldLayoutChg chg="new replId">
          <pc:chgData name="Bedia, Mayda" userId="6e0adc47-4ca1-42c6-a9cf-5a9c105ab15f" providerId="ADAL" clId="{C67CBC74-2BB1-4968-86A8-95C9D870F665}" dt="2023-10-31T10:57:37.534" v="1766" actId="6938"/>
          <pc:sldLayoutMkLst>
            <pc:docMk/>
            <pc:sldMasterMk cId="270937638" sldId="2147484166"/>
            <pc:sldLayoutMk cId="601403747" sldId="2147484176"/>
          </pc:sldLayoutMkLst>
        </pc:sldLayoutChg>
        <pc:sldLayoutChg chg="new replId">
          <pc:chgData name="Bedia, Mayda" userId="6e0adc47-4ca1-42c6-a9cf-5a9c105ab15f" providerId="ADAL" clId="{C67CBC74-2BB1-4968-86A8-95C9D870F665}" dt="2023-10-31T10:57:37.534" v="1766" actId="6938"/>
          <pc:sldLayoutMkLst>
            <pc:docMk/>
            <pc:sldMasterMk cId="270937638" sldId="2147484166"/>
            <pc:sldLayoutMk cId="742057826" sldId="2147484177"/>
          </pc:sldLayoutMkLst>
        </pc:sldLayoutChg>
      </pc:sldMasterChg>
    </pc:docChg>
  </pc:docChgLst>
  <pc:docChgLst>
    <pc:chgData name="Rubio Arnaldo, Francisco javier" userId="96da6d5a-2101-4e69-9601-c4d061bb9771" providerId="ADAL" clId="{4D11BBA0-6C82-4630-BB34-0C82C3B60AA1}"/>
    <pc:docChg chg="undo custSel addSld modSld">
      <pc:chgData name="Rubio Arnaldo, Francisco javier" userId="96da6d5a-2101-4e69-9601-c4d061bb9771" providerId="ADAL" clId="{4D11BBA0-6C82-4630-BB34-0C82C3B60AA1}" dt="2023-03-30T06:30:04.761" v="895" actId="14100"/>
      <pc:docMkLst>
        <pc:docMk/>
      </pc:docMkLst>
      <pc:sldChg chg="addSp delSp modSp add mod">
        <pc:chgData name="Rubio Arnaldo, Francisco javier" userId="96da6d5a-2101-4e69-9601-c4d061bb9771" providerId="ADAL" clId="{4D11BBA0-6C82-4630-BB34-0C82C3B60AA1}" dt="2023-03-30T06:19:18.744" v="831" actId="20577"/>
        <pc:sldMkLst>
          <pc:docMk/>
          <pc:sldMk cId="953810695" sldId="2147471572"/>
        </pc:sldMkLst>
        <pc:spChg chg="del">
          <ac:chgData name="Rubio Arnaldo, Francisco javier" userId="96da6d5a-2101-4e69-9601-c4d061bb9771" providerId="ADAL" clId="{4D11BBA0-6C82-4630-BB34-0C82C3B60AA1}" dt="2023-03-30T05:56:19.980" v="3" actId="478"/>
          <ac:spMkLst>
            <pc:docMk/>
            <pc:sldMk cId="953810695" sldId="2147471572"/>
            <ac:spMk id="2" creationId="{E9369A53-FA45-479F-80F4-37A852205657}"/>
          </ac:spMkLst>
        </pc:spChg>
        <pc:spChg chg="del">
          <ac:chgData name="Rubio Arnaldo, Francisco javier" userId="96da6d5a-2101-4e69-9601-c4d061bb9771" providerId="ADAL" clId="{4D11BBA0-6C82-4630-BB34-0C82C3B60AA1}" dt="2023-03-30T05:56:29.430" v="6" actId="478"/>
          <ac:spMkLst>
            <pc:docMk/>
            <pc:sldMk cId="953810695" sldId="2147471572"/>
            <ac:spMk id="4" creationId="{778EC128-C4D4-4BED-8CDD-B00616AB6CCC}"/>
          </ac:spMkLst>
        </pc:spChg>
        <pc:spChg chg="del">
          <ac:chgData name="Rubio Arnaldo, Francisco javier" userId="96da6d5a-2101-4e69-9601-c4d061bb9771" providerId="ADAL" clId="{4D11BBA0-6C82-4630-BB34-0C82C3B60AA1}" dt="2023-03-30T05:56:29.430" v="6" actId="478"/>
          <ac:spMkLst>
            <pc:docMk/>
            <pc:sldMk cId="953810695" sldId="2147471572"/>
            <ac:spMk id="5" creationId="{5C95F100-C536-43C4-9BC0-8107E215DB83}"/>
          </ac:spMkLst>
        </pc:spChg>
        <pc:spChg chg="del">
          <ac:chgData name="Rubio Arnaldo, Francisco javier" userId="96da6d5a-2101-4e69-9601-c4d061bb9771" providerId="ADAL" clId="{4D11BBA0-6C82-4630-BB34-0C82C3B60AA1}" dt="2023-03-30T05:56:29.430" v="6" actId="478"/>
          <ac:spMkLst>
            <pc:docMk/>
            <pc:sldMk cId="953810695" sldId="2147471572"/>
            <ac:spMk id="6" creationId="{1F4F0FC7-0D1B-414C-8783-5DD6AE727883}"/>
          </ac:spMkLst>
        </pc:spChg>
        <pc:spChg chg="del">
          <ac:chgData name="Rubio Arnaldo, Francisco javier" userId="96da6d5a-2101-4e69-9601-c4d061bb9771" providerId="ADAL" clId="{4D11BBA0-6C82-4630-BB34-0C82C3B60AA1}" dt="2023-03-30T05:56:29.430" v="6" actId="478"/>
          <ac:spMkLst>
            <pc:docMk/>
            <pc:sldMk cId="953810695" sldId="2147471572"/>
            <ac:spMk id="7" creationId="{2643EDF0-A342-43DB-9134-4E587081B711}"/>
          </ac:spMkLst>
        </pc:spChg>
        <pc:spChg chg="del">
          <ac:chgData name="Rubio Arnaldo, Francisco javier" userId="96da6d5a-2101-4e69-9601-c4d061bb9771" providerId="ADAL" clId="{4D11BBA0-6C82-4630-BB34-0C82C3B60AA1}" dt="2023-03-30T05:56:14.466" v="1" actId="478"/>
          <ac:spMkLst>
            <pc:docMk/>
            <pc:sldMk cId="953810695" sldId="2147471572"/>
            <ac:spMk id="8" creationId="{9A62623E-B457-47A8-83F4-EEB2AFCA93F6}"/>
          </ac:spMkLst>
        </pc:spChg>
        <pc:spChg chg="del">
          <ac:chgData name="Rubio Arnaldo, Francisco javier" userId="96da6d5a-2101-4e69-9601-c4d061bb9771" providerId="ADAL" clId="{4D11BBA0-6C82-4630-BB34-0C82C3B60AA1}" dt="2023-03-30T05:56:25.750" v="5" actId="478"/>
          <ac:spMkLst>
            <pc:docMk/>
            <pc:sldMk cId="953810695" sldId="2147471572"/>
            <ac:spMk id="9" creationId="{5DB659A1-ABDF-4060-B1BB-DE1753AA1424}"/>
          </ac:spMkLst>
        </pc:spChg>
        <pc:spChg chg="add del mod">
          <ac:chgData name="Rubio Arnaldo, Francisco javier" userId="96da6d5a-2101-4e69-9601-c4d061bb9771" providerId="ADAL" clId="{4D11BBA0-6C82-4630-BB34-0C82C3B60AA1}" dt="2023-03-30T05:56:16.956" v="2" actId="478"/>
          <ac:spMkLst>
            <pc:docMk/>
            <pc:sldMk cId="953810695" sldId="2147471572"/>
            <ac:spMk id="10" creationId="{4BE18893-D803-490B-82CB-B3BF09BBCF5A}"/>
          </ac:spMkLst>
        </pc:spChg>
        <pc:spChg chg="add del mod">
          <ac:chgData name="Rubio Arnaldo, Francisco javier" userId="96da6d5a-2101-4e69-9601-c4d061bb9771" providerId="ADAL" clId="{4D11BBA0-6C82-4630-BB34-0C82C3B60AA1}" dt="2023-03-30T05:56:22.553" v="4" actId="478"/>
          <ac:spMkLst>
            <pc:docMk/>
            <pc:sldMk cId="953810695" sldId="2147471572"/>
            <ac:spMk id="12" creationId="{4D7B332E-B2A6-4113-A2CE-E8729960826D}"/>
          </ac:spMkLst>
        </pc:spChg>
        <pc:spChg chg="add mod">
          <ac:chgData name="Rubio Arnaldo, Francisco javier" userId="96da6d5a-2101-4e69-9601-c4d061bb9771" providerId="ADAL" clId="{4D11BBA0-6C82-4630-BB34-0C82C3B60AA1}" dt="2023-03-30T06:09:01.967" v="545" actId="1036"/>
          <ac:spMkLst>
            <pc:docMk/>
            <pc:sldMk cId="953810695" sldId="2147471572"/>
            <ac:spMk id="14" creationId="{19CB5E39-B178-47C2-A27D-36FDE5CD94B2}"/>
          </ac:spMkLst>
        </pc:spChg>
        <pc:spChg chg="add del mod">
          <ac:chgData name="Rubio Arnaldo, Francisco javier" userId="96da6d5a-2101-4e69-9601-c4d061bb9771" providerId="ADAL" clId="{4D11BBA0-6C82-4630-BB34-0C82C3B60AA1}" dt="2023-03-30T06:05:04.855" v="504" actId="478"/>
          <ac:spMkLst>
            <pc:docMk/>
            <pc:sldMk cId="953810695" sldId="2147471572"/>
            <ac:spMk id="16" creationId="{A90BE9DF-24C6-4A94-B2F0-17437BB0A966}"/>
          </ac:spMkLst>
        </pc:spChg>
        <pc:spChg chg="add mod">
          <ac:chgData name="Rubio Arnaldo, Francisco javier" userId="96da6d5a-2101-4e69-9601-c4d061bb9771" providerId="ADAL" clId="{4D11BBA0-6C82-4630-BB34-0C82C3B60AA1}" dt="2023-03-30T06:08:08.056" v="520" actId="1076"/>
          <ac:spMkLst>
            <pc:docMk/>
            <pc:sldMk cId="953810695" sldId="2147471572"/>
            <ac:spMk id="17" creationId="{77F1C05C-BD77-40FB-92C7-316D9320AFCD}"/>
          </ac:spMkLst>
        </pc:spChg>
        <pc:spChg chg="add mod">
          <ac:chgData name="Rubio Arnaldo, Francisco javier" userId="96da6d5a-2101-4e69-9601-c4d061bb9771" providerId="ADAL" clId="{4D11BBA0-6C82-4630-BB34-0C82C3B60AA1}" dt="2023-03-30T06:19:18.744" v="831" actId="20577"/>
          <ac:spMkLst>
            <pc:docMk/>
            <pc:sldMk cId="953810695" sldId="2147471572"/>
            <ac:spMk id="18" creationId="{4379F4D6-8665-4CC7-B46D-3C5DA79D61FB}"/>
          </ac:spMkLst>
        </pc:spChg>
        <pc:picChg chg="add mod">
          <ac:chgData name="Rubio Arnaldo, Francisco javier" userId="96da6d5a-2101-4e69-9601-c4d061bb9771" providerId="ADAL" clId="{4D11BBA0-6C82-4630-BB34-0C82C3B60AA1}" dt="2023-03-30T06:08:11.485" v="521" actId="14100"/>
          <ac:picMkLst>
            <pc:docMk/>
            <pc:sldMk cId="953810695" sldId="2147471572"/>
            <ac:picMk id="13" creationId="{64008256-596D-44F7-A7C8-33EE5829329F}"/>
          </ac:picMkLst>
        </pc:picChg>
      </pc:sldChg>
      <pc:sldChg chg="addSp delSp modSp new mod">
        <pc:chgData name="Rubio Arnaldo, Francisco javier" userId="96da6d5a-2101-4e69-9601-c4d061bb9771" providerId="ADAL" clId="{4D11BBA0-6C82-4630-BB34-0C82C3B60AA1}" dt="2023-03-30T06:19:36.978" v="852" actId="14100"/>
        <pc:sldMkLst>
          <pc:docMk/>
          <pc:sldMk cId="4227283030" sldId="2147471573"/>
        </pc:sldMkLst>
        <pc:spChg chg="del">
          <ac:chgData name="Rubio Arnaldo, Francisco javier" userId="96da6d5a-2101-4e69-9601-c4d061bb9771" providerId="ADAL" clId="{4D11BBA0-6C82-4630-BB34-0C82C3B60AA1}" dt="2023-03-30T06:06:23.942" v="515" actId="478"/>
          <ac:spMkLst>
            <pc:docMk/>
            <pc:sldMk cId="4227283030" sldId="2147471573"/>
            <ac:spMk id="2" creationId="{067C1E39-0FBC-43DD-A409-7F266405D37C}"/>
          </ac:spMkLst>
        </pc:spChg>
        <pc:spChg chg="del">
          <ac:chgData name="Rubio Arnaldo, Francisco javier" userId="96da6d5a-2101-4e69-9601-c4d061bb9771" providerId="ADAL" clId="{4D11BBA0-6C82-4630-BB34-0C82C3B60AA1}" dt="2023-03-30T06:06:23.942" v="515" actId="478"/>
          <ac:spMkLst>
            <pc:docMk/>
            <pc:sldMk cId="4227283030" sldId="2147471573"/>
            <ac:spMk id="3" creationId="{D6166EF8-CEBF-494B-AE2F-9EB7A37B2566}"/>
          </ac:spMkLst>
        </pc:spChg>
        <pc:spChg chg="del">
          <ac:chgData name="Rubio Arnaldo, Francisco javier" userId="96da6d5a-2101-4e69-9601-c4d061bb9771" providerId="ADAL" clId="{4D11BBA0-6C82-4630-BB34-0C82C3B60AA1}" dt="2023-03-30T06:06:23.942" v="515" actId="478"/>
          <ac:spMkLst>
            <pc:docMk/>
            <pc:sldMk cId="4227283030" sldId="2147471573"/>
            <ac:spMk id="4" creationId="{B77587EA-BA4E-4020-BF0A-5C26C371726B}"/>
          </ac:spMkLst>
        </pc:spChg>
        <pc:spChg chg="del">
          <ac:chgData name="Rubio Arnaldo, Francisco javier" userId="96da6d5a-2101-4e69-9601-c4d061bb9771" providerId="ADAL" clId="{4D11BBA0-6C82-4630-BB34-0C82C3B60AA1}" dt="2023-03-30T06:06:23.942" v="515" actId="478"/>
          <ac:spMkLst>
            <pc:docMk/>
            <pc:sldMk cId="4227283030" sldId="2147471573"/>
            <ac:spMk id="5" creationId="{9ADC5152-2BC2-454B-B468-99F74967F0C1}"/>
          </ac:spMkLst>
        </pc:spChg>
        <pc:spChg chg="del">
          <ac:chgData name="Rubio Arnaldo, Francisco javier" userId="96da6d5a-2101-4e69-9601-c4d061bb9771" providerId="ADAL" clId="{4D11BBA0-6C82-4630-BB34-0C82C3B60AA1}" dt="2023-03-30T06:06:23.942" v="515" actId="478"/>
          <ac:spMkLst>
            <pc:docMk/>
            <pc:sldMk cId="4227283030" sldId="2147471573"/>
            <ac:spMk id="6" creationId="{F0A48DC7-0CD8-4297-BD55-FE4F468CA81B}"/>
          </ac:spMkLst>
        </pc:spChg>
        <pc:spChg chg="del">
          <ac:chgData name="Rubio Arnaldo, Francisco javier" userId="96da6d5a-2101-4e69-9601-c4d061bb9771" providerId="ADAL" clId="{4D11BBA0-6C82-4630-BB34-0C82C3B60AA1}" dt="2023-03-30T06:06:23.942" v="515" actId="478"/>
          <ac:spMkLst>
            <pc:docMk/>
            <pc:sldMk cId="4227283030" sldId="2147471573"/>
            <ac:spMk id="7" creationId="{F446E5F8-1F24-4E9A-92D1-3A59D4DEFAD4}"/>
          </ac:spMkLst>
        </pc:spChg>
        <pc:spChg chg="add mod">
          <ac:chgData name="Rubio Arnaldo, Francisco javier" userId="96da6d5a-2101-4e69-9601-c4d061bb9771" providerId="ADAL" clId="{4D11BBA0-6C82-4630-BB34-0C82C3B60AA1}" dt="2023-03-30T06:19:36.978" v="852" actId="14100"/>
          <ac:spMkLst>
            <pc:docMk/>
            <pc:sldMk cId="4227283030" sldId="2147471573"/>
            <ac:spMk id="10" creationId="{71E5706D-279E-42F7-A96E-0059A505894E}"/>
          </ac:spMkLst>
        </pc:spChg>
        <pc:spChg chg="add mod">
          <ac:chgData name="Rubio Arnaldo, Francisco javier" userId="96da6d5a-2101-4e69-9601-c4d061bb9771" providerId="ADAL" clId="{4D11BBA0-6C82-4630-BB34-0C82C3B60AA1}" dt="2023-03-30T06:19:08.321" v="822" actId="1076"/>
          <ac:spMkLst>
            <pc:docMk/>
            <pc:sldMk cId="4227283030" sldId="2147471573"/>
            <ac:spMk id="11" creationId="{343262A4-7065-4E1A-835B-7ED44254D62B}"/>
          </ac:spMkLst>
        </pc:spChg>
        <pc:picChg chg="add mod">
          <ac:chgData name="Rubio Arnaldo, Francisco javier" userId="96da6d5a-2101-4e69-9601-c4d061bb9771" providerId="ADAL" clId="{4D11BBA0-6C82-4630-BB34-0C82C3B60AA1}" dt="2023-03-30T06:08:54.317" v="543" actId="14100"/>
          <ac:picMkLst>
            <pc:docMk/>
            <pc:sldMk cId="4227283030" sldId="2147471573"/>
            <ac:picMk id="9" creationId="{CC232BCD-4631-4F30-B973-A44B09EA16CF}"/>
          </ac:picMkLst>
        </pc:picChg>
        <pc:picChg chg="add mod">
          <ac:chgData name="Rubio Arnaldo, Francisco javier" userId="96da6d5a-2101-4e69-9601-c4d061bb9771" providerId="ADAL" clId="{4D11BBA0-6C82-4630-BB34-0C82C3B60AA1}" dt="2023-03-30T06:18:20.910" v="741" actId="1076"/>
          <ac:picMkLst>
            <pc:docMk/>
            <pc:sldMk cId="4227283030" sldId="2147471573"/>
            <ac:picMk id="13" creationId="{36A5DE0B-78C8-409E-A9B1-07E16AB914F1}"/>
          </ac:picMkLst>
        </pc:picChg>
        <pc:picChg chg="add mod">
          <ac:chgData name="Rubio Arnaldo, Francisco javier" userId="96da6d5a-2101-4e69-9601-c4d061bb9771" providerId="ADAL" clId="{4D11BBA0-6C82-4630-BB34-0C82C3B60AA1}" dt="2023-03-30T06:18:29.807" v="743" actId="692"/>
          <ac:picMkLst>
            <pc:docMk/>
            <pc:sldMk cId="4227283030" sldId="2147471573"/>
            <ac:picMk id="15" creationId="{0C2803ED-A4B9-4D1B-808C-176967F6A8A0}"/>
          </ac:picMkLst>
        </pc:picChg>
      </pc:sldChg>
      <pc:sldChg chg="addSp delSp modSp new mod">
        <pc:chgData name="Rubio Arnaldo, Francisco javier" userId="96da6d5a-2101-4e69-9601-c4d061bb9771" providerId="ADAL" clId="{4D11BBA0-6C82-4630-BB34-0C82C3B60AA1}" dt="2023-03-30T06:30:04.761" v="895" actId="14100"/>
        <pc:sldMkLst>
          <pc:docMk/>
          <pc:sldMk cId="1737982429" sldId="2147471574"/>
        </pc:sldMkLst>
        <pc:spChg chg="del">
          <ac:chgData name="Rubio Arnaldo, Francisco javier" userId="96da6d5a-2101-4e69-9601-c4d061bb9771" providerId="ADAL" clId="{4D11BBA0-6C82-4630-BB34-0C82C3B60AA1}" dt="2023-03-30T06:20:04.679" v="854" actId="478"/>
          <ac:spMkLst>
            <pc:docMk/>
            <pc:sldMk cId="1737982429" sldId="2147471574"/>
            <ac:spMk id="2" creationId="{A73D690A-B20D-4E6A-AFD9-180993D27DA8}"/>
          </ac:spMkLst>
        </pc:spChg>
        <pc:spChg chg="del">
          <ac:chgData name="Rubio Arnaldo, Francisco javier" userId="96da6d5a-2101-4e69-9601-c4d061bb9771" providerId="ADAL" clId="{4D11BBA0-6C82-4630-BB34-0C82C3B60AA1}" dt="2023-03-30T06:20:04.679" v="854" actId="478"/>
          <ac:spMkLst>
            <pc:docMk/>
            <pc:sldMk cId="1737982429" sldId="2147471574"/>
            <ac:spMk id="3" creationId="{93751B58-C0D0-4078-95B5-4657D5B4EB16}"/>
          </ac:spMkLst>
        </pc:spChg>
        <pc:spChg chg="del">
          <ac:chgData name="Rubio Arnaldo, Francisco javier" userId="96da6d5a-2101-4e69-9601-c4d061bb9771" providerId="ADAL" clId="{4D11BBA0-6C82-4630-BB34-0C82C3B60AA1}" dt="2023-03-30T06:20:04.679" v="854" actId="478"/>
          <ac:spMkLst>
            <pc:docMk/>
            <pc:sldMk cId="1737982429" sldId="2147471574"/>
            <ac:spMk id="4" creationId="{DDE7E482-166E-4CE5-8F40-C456B781C2C8}"/>
          </ac:spMkLst>
        </pc:spChg>
        <pc:spChg chg="del">
          <ac:chgData name="Rubio Arnaldo, Francisco javier" userId="96da6d5a-2101-4e69-9601-c4d061bb9771" providerId="ADAL" clId="{4D11BBA0-6C82-4630-BB34-0C82C3B60AA1}" dt="2023-03-30T06:20:04.679" v="854" actId="478"/>
          <ac:spMkLst>
            <pc:docMk/>
            <pc:sldMk cId="1737982429" sldId="2147471574"/>
            <ac:spMk id="5" creationId="{320DFE52-2D57-464E-9365-2BA613362E7D}"/>
          </ac:spMkLst>
        </pc:spChg>
        <pc:spChg chg="del">
          <ac:chgData name="Rubio Arnaldo, Francisco javier" userId="96da6d5a-2101-4e69-9601-c4d061bb9771" providerId="ADAL" clId="{4D11BBA0-6C82-4630-BB34-0C82C3B60AA1}" dt="2023-03-30T06:20:04.679" v="854" actId="478"/>
          <ac:spMkLst>
            <pc:docMk/>
            <pc:sldMk cId="1737982429" sldId="2147471574"/>
            <ac:spMk id="6" creationId="{3480C061-A566-4AE8-8C31-DCE73C1655B3}"/>
          </ac:spMkLst>
        </pc:spChg>
        <pc:spChg chg="del">
          <ac:chgData name="Rubio Arnaldo, Francisco javier" userId="96da6d5a-2101-4e69-9601-c4d061bb9771" providerId="ADAL" clId="{4D11BBA0-6C82-4630-BB34-0C82C3B60AA1}" dt="2023-03-30T06:20:04.679" v="854" actId="478"/>
          <ac:spMkLst>
            <pc:docMk/>
            <pc:sldMk cId="1737982429" sldId="2147471574"/>
            <ac:spMk id="7" creationId="{77A4EE60-2BFF-4819-823F-ED8357C9D97C}"/>
          </ac:spMkLst>
        </pc:spChg>
        <pc:spChg chg="add mod">
          <ac:chgData name="Rubio Arnaldo, Francisco javier" userId="96da6d5a-2101-4e69-9601-c4d061bb9771" providerId="ADAL" clId="{4D11BBA0-6C82-4630-BB34-0C82C3B60AA1}" dt="2023-03-30T06:30:04.761" v="895" actId="14100"/>
          <ac:spMkLst>
            <pc:docMk/>
            <pc:sldMk cId="1737982429" sldId="2147471574"/>
            <ac:spMk id="9" creationId="{0F137FA0-DC3A-49E6-B168-10D535D57EFA}"/>
          </ac:spMkLst>
        </pc:spChg>
        <pc:picChg chg="add">
          <ac:chgData name="Rubio Arnaldo, Francisco javier" userId="96da6d5a-2101-4e69-9601-c4d061bb9771" providerId="ADAL" clId="{4D11BBA0-6C82-4630-BB34-0C82C3B60AA1}" dt="2023-03-30T06:29:26.354" v="855"/>
          <ac:picMkLst>
            <pc:docMk/>
            <pc:sldMk cId="1737982429" sldId="2147471574"/>
            <ac:picMk id="8" creationId="{32AB13B1-2EE7-43B5-AE94-05B51E366B24}"/>
          </ac:picMkLst>
        </pc:picChg>
      </pc:sldChg>
    </pc:docChg>
  </pc:docChgLst>
  <pc:docChgLst>
    <pc:chgData name="Garcia Orive, Ana Belen" userId="S::p551261@arcelormittal.es::98f346af-725a-4509-9a9a-5c4ab25f411d" providerId="AD" clId="Web-{36B22754-9CFC-50E4-34C4-296AACD09F73}"/>
    <pc:docChg chg="addSld delSld modSld sldOrd">
      <pc:chgData name="Garcia Orive, Ana Belen" userId="S::p551261@arcelormittal.es::98f346af-725a-4509-9a9a-5c4ab25f411d" providerId="AD" clId="Web-{36B22754-9CFC-50E4-34C4-296AACD09F73}" dt="2023-03-30T08:08:42.711" v="495"/>
      <pc:docMkLst>
        <pc:docMk/>
      </pc:docMkLst>
      <pc:sldChg chg="modSp">
        <pc:chgData name="Garcia Orive, Ana Belen" userId="S::p551261@arcelormittal.es::98f346af-725a-4509-9a9a-5c4ab25f411d" providerId="AD" clId="Web-{36B22754-9CFC-50E4-34C4-296AACD09F73}" dt="2023-03-30T07:44:39.887" v="143" actId="1076"/>
        <pc:sldMkLst>
          <pc:docMk/>
          <pc:sldMk cId="1416133257" sldId="495"/>
        </pc:sldMkLst>
        <pc:spChg chg="mod">
          <ac:chgData name="Garcia Orive, Ana Belen" userId="S::p551261@arcelormittal.es::98f346af-725a-4509-9a9a-5c4ab25f411d" providerId="AD" clId="Web-{36B22754-9CFC-50E4-34C4-296AACD09F73}" dt="2023-03-30T07:44:20.480" v="136" actId="1076"/>
          <ac:spMkLst>
            <pc:docMk/>
            <pc:sldMk cId="1416133257" sldId="495"/>
            <ac:spMk id="16" creationId="{6BE639B7-CA05-4FB5-8563-E0AB642F0255}"/>
          </ac:spMkLst>
        </pc:spChg>
        <pc:spChg chg="mod">
          <ac:chgData name="Garcia Orive, Ana Belen" userId="S::p551261@arcelormittal.es::98f346af-725a-4509-9a9a-5c4ab25f411d" providerId="AD" clId="Web-{36B22754-9CFC-50E4-34C4-296AACD09F73}" dt="2023-03-30T07:44:35.308" v="142" actId="1076"/>
          <ac:spMkLst>
            <pc:docMk/>
            <pc:sldMk cId="1416133257" sldId="495"/>
            <ac:spMk id="19" creationId="{A4386B33-1C5F-4CBC-AD7A-EFA287552C10}"/>
          </ac:spMkLst>
        </pc:spChg>
        <pc:spChg chg="mod">
          <ac:chgData name="Garcia Orive, Ana Belen" userId="S::p551261@arcelormittal.es::98f346af-725a-4509-9a9a-5c4ab25f411d" providerId="AD" clId="Web-{36B22754-9CFC-50E4-34C4-296AACD09F73}" dt="2023-03-30T07:44:27.589" v="139" actId="1076"/>
          <ac:spMkLst>
            <pc:docMk/>
            <pc:sldMk cId="1416133257" sldId="495"/>
            <ac:spMk id="20" creationId="{67F68A7A-54EF-44B7-B62E-FAB3D07C9DCA}"/>
          </ac:spMkLst>
        </pc:spChg>
        <pc:picChg chg="mod">
          <ac:chgData name="Garcia Orive, Ana Belen" userId="S::p551261@arcelormittal.es::98f346af-725a-4509-9a9a-5c4ab25f411d" providerId="AD" clId="Web-{36B22754-9CFC-50E4-34C4-296AACD09F73}" dt="2023-03-30T07:44:21.527" v="137" actId="1076"/>
          <ac:picMkLst>
            <pc:docMk/>
            <pc:sldMk cId="1416133257" sldId="495"/>
            <ac:picMk id="15" creationId="{67D14DB2-8409-4AD5-BE47-D093ACCE9C99}"/>
          </ac:picMkLst>
        </pc:picChg>
        <pc:picChg chg="mod">
          <ac:chgData name="Garcia Orive, Ana Belen" userId="S::p551261@arcelormittal.es::98f346af-725a-4509-9a9a-5c4ab25f411d" providerId="AD" clId="Web-{36B22754-9CFC-50E4-34C4-296AACD09F73}" dt="2023-03-30T07:44:29.574" v="140" actId="1076"/>
          <ac:picMkLst>
            <pc:docMk/>
            <pc:sldMk cId="1416133257" sldId="495"/>
            <ac:picMk id="21" creationId="{BDACF7FC-2179-41A6-B5BC-E6ACDF8FC31A}"/>
          </ac:picMkLst>
        </pc:picChg>
        <pc:picChg chg="mod">
          <ac:chgData name="Garcia Orive, Ana Belen" userId="S::p551261@arcelormittal.es::98f346af-725a-4509-9a9a-5c4ab25f411d" providerId="AD" clId="Web-{36B22754-9CFC-50E4-34C4-296AACD09F73}" dt="2023-03-30T07:44:39.887" v="143" actId="1076"/>
          <ac:picMkLst>
            <pc:docMk/>
            <pc:sldMk cId="1416133257" sldId="495"/>
            <ac:picMk id="22" creationId="{AC1EDB18-654C-4B06-B9B0-EA35A5826DB9}"/>
          </ac:picMkLst>
        </pc:picChg>
      </pc:sldChg>
      <pc:sldChg chg="modSp">
        <pc:chgData name="Garcia Orive, Ana Belen" userId="S::p551261@arcelormittal.es::98f346af-725a-4509-9a9a-5c4ab25f411d" providerId="AD" clId="Web-{36B22754-9CFC-50E4-34C4-296AACD09F73}" dt="2023-03-30T07:42:58.899" v="134" actId="20577"/>
        <pc:sldMkLst>
          <pc:docMk/>
          <pc:sldMk cId="3471810741" sldId="1065"/>
        </pc:sldMkLst>
        <pc:spChg chg="mod">
          <ac:chgData name="Garcia Orive, Ana Belen" userId="S::p551261@arcelormittal.es::98f346af-725a-4509-9a9a-5c4ab25f411d" providerId="AD" clId="Web-{36B22754-9CFC-50E4-34C4-296AACD09F73}" dt="2023-03-30T07:42:58.899" v="134" actId="20577"/>
          <ac:spMkLst>
            <pc:docMk/>
            <pc:sldMk cId="3471810741" sldId="1065"/>
            <ac:spMk id="11" creationId="{6C4139FE-B91D-4F09-8F54-AD4EA58996C1}"/>
          </ac:spMkLst>
        </pc:spChg>
        <pc:spChg chg="mod">
          <ac:chgData name="Garcia Orive, Ana Belen" userId="S::p551261@arcelormittal.es::98f346af-725a-4509-9a9a-5c4ab25f411d" providerId="AD" clId="Web-{36B22754-9CFC-50E4-34C4-296AACD09F73}" dt="2023-03-30T07:41:13.959" v="132" actId="1076"/>
          <ac:spMkLst>
            <pc:docMk/>
            <pc:sldMk cId="3471810741" sldId="1065"/>
            <ac:spMk id="16" creationId="{D9131C21-9E6C-40FE-9132-73912AC1B81F}"/>
          </ac:spMkLst>
        </pc:spChg>
      </pc:sldChg>
      <pc:sldChg chg="ord">
        <pc:chgData name="Garcia Orive, Ana Belen" userId="S::p551261@arcelormittal.es::98f346af-725a-4509-9a9a-5c4ab25f411d" providerId="AD" clId="Web-{36B22754-9CFC-50E4-34C4-296AACD09F73}" dt="2023-03-30T07:57:04.675" v="346"/>
        <pc:sldMkLst>
          <pc:docMk/>
          <pc:sldMk cId="4167243857" sldId="2145706057"/>
        </pc:sldMkLst>
      </pc:sldChg>
      <pc:sldChg chg="addSp modSp">
        <pc:chgData name="Garcia Orive, Ana Belen" userId="S::p551261@arcelormittal.es::98f346af-725a-4509-9a9a-5c4ab25f411d" providerId="AD" clId="Web-{36B22754-9CFC-50E4-34C4-296AACD09F73}" dt="2023-03-30T08:08:33.617" v="494" actId="1076"/>
        <pc:sldMkLst>
          <pc:docMk/>
          <pc:sldMk cId="1975320800" sldId="2145706965"/>
        </pc:sldMkLst>
        <pc:spChg chg="add mod">
          <ac:chgData name="Garcia Orive, Ana Belen" userId="S::p551261@arcelormittal.es::98f346af-725a-4509-9a9a-5c4ab25f411d" providerId="AD" clId="Web-{36B22754-9CFC-50E4-34C4-296AACD09F73}" dt="2023-03-30T08:08:33.617" v="494" actId="1076"/>
          <ac:spMkLst>
            <pc:docMk/>
            <pc:sldMk cId="1975320800" sldId="2145706965"/>
            <ac:spMk id="2" creationId="{AC514B0D-974F-A7CA-2082-E680EAE06F2C}"/>
          </ac:spMkLst>
        </pc:spChg>
      </pc:sldChg>
      <pc:sldChg chg="delSp modSp del">
        <pc:chgData name="Garcia Orive, Ana Belen" userId="S::p551261@arcelormittal.es::98f346af-725a-4509-9a9a-5c4ab25f411d" providerId="AD" clId="Web-{36B22754-9CFC-50E4-34C4-296AACD09F73}" dt="2023-03-30T08:08:42.711" v="495"/>
        <pc:sldMkLst>
          <pc:docMk/>
          <pc:sldMk cId="2313713331" sldId="2147471559"/>
        </pc:sldMkLst>
        <pc:spChg chg="mod">
          <ac:chgData name="Garcia Orive, Ana Belen" userId="S::p551261@arcelormittal.es::98f346af-725a-4509-9a9a-5c4ab25f411d" providerId="AD" clId="Web-{36B22754-9CFC-50E4-34C4-296AACD09F73}" dt="2023-03-30T08:06:26.645" v="425" actId="20577"/>
          <ac:spMkLst>
            <pc:docMk/>
            <pc:sldMk cId="2313713331" sldId="2147471559"/>
            <ac:spMk id="2" creationId="{FC1100E1-09B3-43CE-B766-E46151E560CE}"/>
          </ac:spMkLst>
        </pc:spChg>
        <pc:spChg chg="mod">
          <ac:chgData name="Garcia Orive, Ana Belen" userId="S::p551261@arcelormittal.es::98f346af-725a-4509-9a9a-5c4ab25f411d" providerId="AD" clId="Web-{36B22754-9CFC-50E4-34C4-296AACD09F73}" dt="2023-03-30T08:08:09.164" v="482" actId="20577"/>
          <ac:spMkLst>
            <pc:docMk/>
            <pc:sldMk cId="2313713331" sldId="2147471559"/>
            <ac:spMk id="3" creationId="{87508F9D-D630-4272-B34C-9C0A97E51D7B}"/>
          </ac:spMkLst>
        </pc:spChg>
        <pc:spChg chg="del">
          <ac:chgData name="Garcia Orive, Ana Belen" userId="S::p551261@arcelormittal.es::98f346af-725a-4509-9a9a-5c4ab25f411d" providerId="AD" clId="Web-{36B22754-9CFC-50E4-34C4-296AACD09F73}" dt="2023-03-30T08:06:42.614" v="427"/>
          <ac:spMkLst>
            <pc:docMk/>
            <pc:sldMk cId="2313713331" sldId="2147471559"/>
            <ac:spMk id="4" creationId="{AB378571-C91A-4519-AE21-1BA44C065D8B}"/>
          </ac:spMkLst>
        </pc:spChg>
        <pc:spChg chg="del">
          <ac:chgData name="Garcia Orive, Ana Belen" userId="S::p551261@arcelormittal.es::98f346af-725a-4509-9a9a-5c4ab25f411d" providerId="AD" clId="Web-{36B22754-9CFC-50E4-34C4-296AACD09F73}" dt="2023-03-30T08:06:39.598" v="426"/>
          <ac:spMkLst>
            <pc:docMk/>
            <pc:sldMk cId="2313713331" sldId="2147471559"/>
            <ac:spMk id="5" creationId="{D0B54D39-8F76-440F-9952-2DA8B062AF41}"/>
          </ac:spMkLst>
        </pc:spChg>
      </pc:sldChg>
      <pc:sldChg chg="delSp modSp">
        <pc:chgData name="Garcia Orive, Ana Belen" userId="S::p551261@arcelormittal.es::98f346af-725a-4509-9a9a-5c4ab25f411d" providerId="AD" clId="Web-{36B22754-9CFC-50E4-34C4-296AACD09F73}" dt="2023-03-30T07:40:42.676" v="130" actId="20577"/>
        <pc:sldMkLst>
          <pc:docMk/>
          <pc:sldMk cId="1137967090" sldId="2147471560"/>
        </pc:sldMkLst>
        <pc:spChg chg="mod">
          <ac:chgData name="Garcia Orive, Ana Belen" userId="S::p551261@arcelormittal.es::98f346af-725a-4509-9a9a-5c4ab25f411d" providerId="AD" clId="Web-{36B22754-9CFC-50E4-34C4-296AACD09F73}" dt="2023-03-30T07:40:42.676" v="130" actId="20577"/>
          <ac:spMkLst>
            <pc:docMk/>
            <pc:sldMk cId="1137967090" sldId="2147471560"/>
            <ac:spMk id="4" creationId="{2E562FAB-4E4B-48E7-8E20-570C82C347F4}"/>
          </ac:spMkLst>
        </pc:spChg>
        <pc:spChg chg="del">
          <ac:chgData name="Garcia Orive, Ana Belen" userId="S::p551261@arcelormittal.es::98f346af-725a-4509-9a9a-5c4ab25f411d" providerId="AD" clId="Web-{36B22754-9CFC-50E4-34C4-296AACD09F73}" dt="2023-03-30T07:35:19.025" v="66"/>
          <ac:spMkLst>
            <pc:docMk/>
            <pc:sldMk cId="1137967090" sldId="2147471560"/>
            <ac:spMk id="15" creationId="{02DAA12F-69C6-42B2-86FB-75FA29977A7F}"/>
          </ac:spMkLst>
        </pc:spChg>
        <pc:spChg chg="mod">
          <ac:chgData name="Garcia Orive, Ana Belen" userId="S::p551261@arcelormittal.es::98f346af-725a-4509-9a9a-5c4ab25f411d" providerId="AD" clId="Web-{36B22754-9CFC-50E4-34C4-296AACD09F73}" dt="2023-03-30T07:40:00.050" v="127" actId="20577"/>
          <ac:spMkLst>
            <pc:docMk/>
            <pc:sldMk cId="1137967090" sldId="2147471560"/>
            <ac:spMk id="16" creationId="{A4CB2068-8D17-4FFD-A7F8-3ECCD44E5547}"/>
          </ac:spMkLst>
        </pc:spChg>
        <pc:spChg chg="mod">
          <ac:chgData name="Garcia Orive, Ana Belen" userId="S::p551261@arcelormittal.es::98f346af-725a-4509-9a9a-5c4ab25f411d" providerId="AD" clId="Web-{36B22754-9CFC-50E4-34C4-296AACD09F73}" dt="2023-03-30T07:35:57.433" v="69" actId="1076"/>
          <ac:spMkLst>
            <pc:docMk/>
            <pc:sldMk cId="1137967090" sldId="2147471560"/>
            <ac:spMk id="19" creationId="{C0A1EC24-71DA-44AE-9F62-3A2A02DB51EB}"/>
          </ac:spMkLst>
        </pc:spChg>
        <pc:picChg chg="mod">
          <ac:chgData name="Garcia Orive, Ana Belen" userId="S::p551261@arcelormittal.es::98f346af-725a-4509-9a9a-5c4ab25f411d" providerId="AD" clId="Web-{36B22754-9CFC-50E4-34C4-296AACD09F73}" dt="2023-03-30T07:40:16.269" v="128" actId="1076"/>
          <ac:picMkLst>
            <pc:docMk/>
            <pc:sldMk cId="1137967090" sldId="2147471560"/>
            <ac:picMk id="9" creationId="{777754C5-D3EB-4B70-8877-63925E7E31C6}"/>
          </ac:picMkLst>
        </pc:picChg>
        <pc:picChg chg="del">
          <ac:chgData name="Garcia Orive, Ana Belen" userId="S::p551261@arcelormittal.es::98f346af-725a-4509-9a9a-5c4ab25f411d" providerId="AD" clId="Web-{36B22754-9CFC-50E4-34C4-296AACD09F73}" dt="2023-03-30T07:35:28.604" v="68"/>
          <ac:picMkLst>
            <pc:docMk/>
            <pc:sldMk cId="1137967090" sldId="2147471560"/>
            <ac:picMk id="17" creationId="{8751DAF7-F7D5-46E6-8E8C-D948F53577EF}"/>
          </ac:picMkLst>
        </pc:picChg>
      </pc:sldChg>
      <pc:sldChg chg="ord">
        <pc:chgData name="Garcia Orive, Ana Belen" userId="S::p551261@arcelormittal.es::98f346af-725a-4509-9a9a-5c4ab25f411d" providerId="AD" clId="Web-{36B22754-9CFC-50E4-34C4-296AACD09F73}" dt="2023-03-30T07:47:15.282" v="144"/>
        <pc:sldMkLst>
          <pc:docMk/>
          <pc:sldMk cId="775698103" sldId="2147471561"/>
        </pc:sldMkLst>
      </pc:sldChg>
      <pc:sldChg chg="modSp">
        <pc:chgData name="Garcia Orive, Ana Belen" userId="S::p551261@arcelormittal.es::98f346af-725a-4509-9a9a-5c4ab25f411d" providerId="AD" clId="Web-{36B22754-9CFC-50E4-34C4-296AACD09F73}" dt="2023-03-30T07:57:19.675" v="347"/>
        <pc:sldMkLst>
          <pc:docMk/>
          <pc:sldMk cId="2228937482" sldId="2147471562"/>
        </pc:sldMkLst>
        <pc:spChg chg="mod">
          <ac:chgData name="Garcia Orive, Ana Belen" userId="S::p551261@arcelormittal.es::98f346af-725a-4509-9a9a-5c4ab25f411d" providerId="AD" clId="Web-{36B22754-9CFC-50E4-34C4-296AACD09F73}" dt="2023-03-30T07:57:19.675" v="347"/>
          <ac:spMkLst>
            <pc:docMk/>
            <pc:sldMk cId="2228937482" sldId="2147471562"/>
            <ac:spMk id="24579" creationId="{3E0A3272-2439-4BD3-8DFE-20A29003AA3E}"/>
          </ac:spMkLst>
        </pc:spChg>
      </pc:sldChg>
      <pc:sldChg chg="add del">
        <pc:chgData name="Garcia Orive, Ana Belen" userId="S::p551261@arcelormittal.es::98f346af-725a-4509-9a9a-5c4ab25f411d" providerId="AD" clId="Web-{36B22754-9CFC-50E4-34C4-296AACD09F73}" dt="2023-03-30T08:04:03.672" v="415"/>
        <pc:sldMkLst>
          <pc:docMk/>
          <pc:sldMk cId="212685869" sldId="2147471567"/>
        </pc:sldMkLst>
      </pc:sldChg>
      <pc:sldChg chg="addSp modSp ord">
        <pc:chgData name="Garcia Orive, Ana Belen" userId="S::p551261@arcelormittal.es::98f346af-725a-4509-9a9a-5c4ab25f411d" providerId="AD" clId="Web-{36B22754-9CFC-50E4-34C4-296AACD09F73}" dt="2023-03-30T08:02:56.295" v="413" actId="14100"/>
        <pc:sldMkLst>
          <pc:docMk/>
          <pc:sldMk cId="4244973074" sldId="2147471571"/>
        </pc:sldMkLst>
        <pc:spChg chg="mod">
          <ac:chgData name="Garcia Orive, Ana Belen" userId="S::p551261@arcelormittal.es::98f346af-725a-4509-9a9a-5c4ab25f411d" providerId="AD" clId="Web-{36B22754-9CFC-50E4-34C4-296AACD09F73}" dt="2023-03-30T07:58:45.022" v="362" actId="20577"/>
          <ac:spMkLst>
            <pc:docMk/>
            <pc:sldMk cId="4244973074" sldId="2147471571"/>
            <ac:spMk id="2" creationId="{E9369A53-FA45-479F-80F4-37A852205657}"/>
          </ac:spMkLst>
        </pc:spChg>
        <pc:spChg chg="add mod">
          <ac:chgData name="Garcia Orive, Ana Belen" userId="S::p551261@arcelormittal.es::98f346af-725a-4509-9a9a-5c4ab25f411d" providerId="AD" clId="Web-{36B22754-9CFC-50E4-34C4-296AACD09F73}" dt="2023-03-30T08:02:56.295" v="413" actId="14100"/>
          <ac:spMkLst>
            <pc:docMk/>
            <pc:sldMk cId="4244973074" sldId="2147471571"/>
            <ac:spMk id="3" creationId="{47928E80-2CDF-9815-63BE-79716E15A637}"/>
          </ac:spMkLst>
        </pc:spChg>
        <pc:spChg chg="mod">
          <ac:chgData name="Garcia Orive, Ana Belen" userId="S::p551261@arcelormittal.es::98f346af-725a-4509-9a9a-5c4ab25f411d" providerId="AD" clId="Web-{36B22754-9CFC-50E4-34C4-296AACD09F73}" dt="2023-03-30T07:57:55.864" v="348" actId="20577"/>
          <ac:spMkLst>
            <pc:docMk/>
            <pc:sldMk cId="4244973074" sldId="2147471571"/>
            <ac:spMk id="8" creationId="{9A62623E-B457-47A8-83F4-EEB2AFCA93F6}"/>
          </ac:spMkLst>
        </pc:spChg>
        <pc:spChg chg="mod">
          <ac:chgData name="Garcia Orive, Ana Belen" userId="S::p551261@arcelormittal.es::98f346af-725a-4509-9a9a-5c4ab25f411d" providerId="AD" clId="Web-{36B22754-9CFC-50E4-34C4-296AACD09F73}" dt="2023-03-30T08:02:20.466" v="412" actId="20577"/>
          <ac:spMkLst>
            <pc:docMk/>
            <pc:sldMk cId="4244973074" sldId="2147471571"/>
            <ac:spMk id="9" creationId="{5DB659A1-ABDF-4060-B1BB-DE1753AA1424}"/>
          </ac:spMkLst>
        </pc:spChg>
      </pc:sldChg>
    </pc:docChg>
  </pc:docChgLst>
  <pc:docChgLst>
    <pc:chgData name="Garcia Orive, Ana Belen" userId="98f346af-725a-4509-9a9a-5c4ab25f411d" providerId="ADAL" clId="{2D888C1D-96CD-45AB-9BB6-809121DB489F}"/>
    <pc:docChg chg="undo redo custSel addSld delSld modSld sldOrd delMainMaster">
      <pc:chgData name="Garcia Orive, Ana Belen" userId="98f346af-725a-4509-9a9a-5c4ab25f411d" providerId="ADAL" clId="{2D888C1D-96CD-45AB-9BB6-809121DB489F}" dt="2023-10-18T10:23:12.870" v="3567" actId="20577"/>
      <pc:docMkLst>
        <pc:docMk/>
      </pc:docMkLst>
      <pc:sldChg chg="del">
        <pc:chgData name="Garcia Orive, Ana Belen" userId="98f346af-725a-4509-9a9a-5c4ab25f411d" providerId="ADAL" clId="{2D888C1D-96CD-45AB-9BB6-809121DB489F}" dt="2023-10-11T15:46:35.616" v="3" actId="2696"/>
        <pc:sldMkLst>
          <pc:docMk/>
          <pc:sldMk cId="2068185994" sldId="1056"/>
        </pc:sldMkLst>
      </pc:sldChg>
      <pc:sldChg chg="modSp">
        <pc:chgData name="Garcia Orive, Ana Belen" userId="98f346af-725a-4509-9a9a-5c4ab25f411d" providerId="ADAL" clId="{2D888C1D-96CD-45AB-9BB6-809121DB489F}" dt="2023-10-11T15:48:36.102" v="81" actId="13926"/>
        <pc:sldMkLst>
          <pc:docMk/>
          <pc:sldMk cId="3471810741" sldId="1065"/>
        </pc:sldMkLst>
        <pc:spChg chg="mod">
          <ac:chgData name="Garcia Orive, Ana Belen" userId="98f346af-725a-4509-9a9a-5c4ab25f411d" providerId="ADAL" clId="{2D888C1D-96CD-45AB-9BB6-809121DB489F}" dt="2023-10-11T15:48:36.102" v="81" actId="13926"/>
          <ac:spMkLst>
            <pc:docMk/>
            <pc:sldMk cId="3471810741" sldId="1065"/>
            <ac:spMk id="11" creationId="{6C4139FE-B91D-4F09-8F54-AD4EA58996C1}"/>
          </ac:spMkLst>
        </pc:spChg>
      </pc:sldChg>
      <pc:sldChg chg="del">
        <pc:chgData name="Garcia Orive, Ana Belen" userId="98f346af-725a-4509-9a9a-5c4ab25f411d" providerId="ADAL" clId="{2D888C1D-96CD-45AB-9BB6-809121DB489F}" dt="2023-10-11T15:47:12.814" v="8" actId="2696"/>
        <pc:sldMkLst>
          <pc:docMk/>
          <pc:sldMk cId="4167243857" sldId="2145706057"/>
        </pc:sldMkLst>
      </pc:sldChg>
      <pc:sldChg chg="del">
        <pc:chgData name="Garcia Orive, Ana Belen" userId="98f346af-725a-4509-9a9a-5c4ab25f411d" providerId="ADAL" clId="{2D888C1D-96CD-45AB-9BB6-809121DB489F}" dt="2023-10-11T15:46:04.316" v="1" actId="2696"/>
        <pc:sldMkLst>
          <pc:docMk/>
          <pc:sldMk cId="1975320800" sldId="2145706965"/>
        </pc:sldMkLst>
      </pc:sldChg>
      <pc:sldChg chg="del">
        <pc:chgData name="Garcia Orive, Ana Belen" userId="98f346af-725a-4509-9a9a-5c4ab25f411d" providerId="ADAL" clId="{2D888C1D-96CD-45AB-9BB6-809121DB489F}" dt="2023-10-11T16:36:06.403" v="892" actId="2696"/>
        <pc:sldMkLst>
          <pc:docMk/>
          <pc:sldMk cId="3054713014" sldId="2147471548"/>
        </pc:sldMkLst>
      </pc:sldChg>
      <pc:sldChg chg="del">
        <pc:chgData name="Garcia Orive, Ana Belen" userId="98f346af-725a-4509-9a9a-5c4ab25f411d" providerId="ADAL" clId="{2D888C1D-96CD-45AB-9BB6-809121DB489F}" dt="2023-10-11T15:46:03.676" v="0" actId="2696"/>
        <pc:sldMkLst>
          <pc:docMk/>
          <pc:sldMk cId="3891438414" sldId="2147471553"/>
        </pc:sldMkLst>
      </pc:sldChg>
      <pc:sldChg chg="del">
        <pc:chgData name="Garcia Orive, Ana Belen" userId="98f346af-725a-4509-9a9a-5c4ab25f411d" providerId="ADAL" clId="{2D888C1D-96CD-45AB-9BB6-809121DB489F}" dt="2023-10-11T15:46:05.147" v="2" actId="2696"/>
        <pc:sldMkLst>
          <pc:docMk/>
          <pc:sldMk cId="1137967090" sldId="2147471560"/>
        </pc:sldMkLst>
      </pc:sldChg>
      <pc:sldChg chg="del">
        <pc:chgData name="Garcia Orive, Ana Belen" userId="98f346af-725a-4509-9a9a-5c4ab25f411d" providerId="ADAL" clId="{2D888C1D-96CD-45AB-9BB6-809121DB489F}" dt="2023-10-11T15:47:14.247" v="10" actId="2696"/>
        <pc:sldMkLst>
          <pc:docMk/>
          <pc:sldMk cId="775698103" sldId="2147471561"/>
        </pc:sldMkLst>
      </pc:sldChg>
      <pc:sldChg chg="del">
        <pc:chgData name="Garcia Orive, Ana Belen" userId="98f346af-725a-4509-9a9a-5c4ab25f411d" providerId="ADAL" clId="{2D888C1D-96CD-45AB-9BB6-809121DB489F}" dt="2023-10-18T09:07:59.862" v="1041" actId="2696"/>
        <pc:sldMkLst>
          <pc:docMk/>
          <pc:sldMk cId="2228937482" sldId="2147471562"/>
        </pc:sldMkLst>
      </pc:sldChg>
      <pc:sldChg chg="del">
        <pc:chgData name="Garcia Orive, Ana Belen" userId="98f346af-725a-4509-9a9a-5c4ab25f411d" providerId="ADAL" clId="{2D888C1D-96CD-45AB-9BB6-809121DB489F}" dt="2023-10-11T15:47:15.988" v="11" actId="2696"/>
        <pc:sldMkLst>
          <pc:docMk/>
          <pc:sldMk cId="3450115876" sldId="2147471564"/>
        </pc:sldMkLst>
      </pc:sldChg>
      <pc:sldChg chg="del">
        <pc:chgData name="Garcia Orive, Ana Belen" userId="98f346af-725a-4509-9a9a-5c4ab25f411d" providerId="ADAL" clId="{2D888C1D-96CD-45AB-9BB6-809121DB489F}" dt="2023-10-11T15:47:16.421" v="12" actId="2696"/>
        <pc:sldMkLst>
          <pc:docMk/>
          <pc:sldMk cId="2050413618" sldId="2147471565"/>
        </pc:sldMkLst>
      </pc:sldChg>
      <pc:sldChg chg="del">
        <pc:chgData name="Garcia Orive, Ana Belen" userId="98f346af-725a-4509-9a9a-5c4ab25f411d" providerId="ADAL" clId="{2D888C1D-96CD-45AB-9BB6-809121DB489F}" dt="2023-10-11T15:47:17.816" v="13" actId="2696"/>
        <pc:sldMkLst>
          <pc:docMk/>
          <pc:sldMk cId="212685869" sldId="2147471567"/>
        </pc:sldMkLst>
      </pc:sldChg>
      <pc:sldChg chg="del">
        <pc:chgData name="Garcia Orive, Ana Belen" userId="98f346af-725a-4509-9a9a-5c4ab25f411d" providerId="ADAL" clId="{2D888C1D-96CD-45AB-9BB6-809121DB489F}" dt="2023-10-11T15:47:18.749" v="14" actId="2696"/>
        <pc:sldMkLst>
          <pc:docMk/>
          <pc:sldMk cId="1922100989" sldId="2147471568"/>
        </pc:sldMkLst>
      </pc:sldChg>
      <pc:sldChg chg="del">
        <pc:chgData name="Garcia Orive, Ana Belen" userId="98f346af-725a-4509-9a9a-5c4ab25f411d" providerId="ADAL" clId="{2D888C1D-96CD-45AB-9BB6-809121DB489F}" dt="2023-10-11T15:47:19.479" v="15" actId="2696"/>
        <pc:sldMkLst>
          <pc:docMk/>
          <pc:sldMk cId="2438345639" sldId="2147471569"/>
        </pc:sldMkLst>
      </pc:sldChg>
      <pc:sldChg chg="del">
        <pc:chgData name="Garcia Orive, Ana Belen" userId="98f346af-725a-4509-9a9a-5c4ab25f411d" providerId="ADAL" clId="{2D888C1D-96CD-45AB-9BB6-809121DB489F}" dt="2023-10-11T15:47:22.375" v="16" actId="2696"/>
        <pc:sldMkLst>
          <pc:docMk/>
          <pc:sldMk cId="1725101662" sldId="2147471570"/>
        </pc:sldMkLst>
      </pc:sldChg>
      <pc:sldChg chg="del">
        <pc:chgData name="Garcia Orive, Ana Belen" userId="98f346af-725a-4509-9a9a-5c4ab25f411d" providerId="ADAL" clId="{2D888C1D-96CD-45AB-9BB6-809121DB489F}" dt="2023-10-11T16:34:09.455" v="671" actId="2696"/>
        <pc:sldMkLst>
          <pc:docMk/>
          <pc:sldMk cId="4244973074" sldId="2147471571"/>
        </pc:sldMkLst>
      </pc:sldChg>
      <pc:sldChg chg="del">
        <pc:chgData name="Garcia Orive, Ana Belen" userId="98f346af-725a-4509-9a9a-5c4ab25f411d" providerId="ADAL" clId="{2D888C1D-96CD-45AB-9BB6-809121DB489F}" dt="2023-10-11T15:46:41.065" v="5" actId="2696"/>
        <pc:sldMkLst>
          <pc:docMk/>
          <pc:sldMk cId="953810695" sldId="2147471572"/>
        </pc:sldMkLst>
      </pc:sldChg>
      <pc:sldChg chg="modSp add del ord">
        <pc:chgData name="Garcia Orive, Ana Belen" userId="98f346af-725a-4509-9a9a-5c4ab25f411d" providerId="ADAL" clId="{2D888C1D-96CD-45AB-9BB6-809121DB489F}" dt="2023-10-18T09:57:30.496" v="2069" actId="2696"/>
        <pc:sldMkLst>
          <pc:docMk/>
          <pc:sldMk cId="2123475029" sldId="2147471572"/>
        </pc:sldMkLst>
        <pc:spChg chg="mod">
          <ac:chgData name="Garcia Orive, Ana Belen" userId="98f346af-725a-4509-9a9a-5c4ab25f411d" providerId="ADAL" clId="{2D888C1D-96CD-45AB-9BB6-809121DB489F}" dt="2023-10-18T09:43:09.004" v="1461" actId="6549"/>
          <ac:spMkLst>
            <pc:docMk/>
            <pc:sldMk cId="2123475029" sldId="2147471572"/>
            <ac:spMk id="2" creationId="{D169643A-5CAA-4239-9DBB-59E4D851F247}"/>
          </ac:spMkLst>
        </pc:spChg>
        <pc:spChg chg="mod">
          <ac:chgData name="Garcia Orive, Ana Belen" userId="98f346af-725a-4509-9a9a-5c4ab25f411d" providerId="ADAL" clId="{2D888C1D-96CD-45AB-9BB6-809121DB489F}" dt="2023-10-18T09:43:11.421" v="1470" actId="20577"/>
          <ac:spMkLst>
            <pc:docMk/>
            <pc:sldMk cId="2123475029" sldId="2147471572"/>
            <ac:spMk id="3" creationId="{2E2B6BB1-2A28-4664-B3AB-74EDCBDF42C4}"/>
          </ac:spMkLst>
        </pc:spChg>
      </pc:sldChg>
      <pc:sldChg chg="delSp modSp add">
        <pc:chgData name="Garcia Orive, Ana Belen" userId="98f346af-725a-4509-9a9a-5c4ab25f411d" providerId="ADAL" clId="{2D888C1D-96CD-45AB-9BB6-809121DB489F}" dt="2023-10-18T10:00:51.373" v="2260" actId="20577"/>
        <pc:sldMkLst>
          <pc:docMk/>
          <pc:sldMk cId="1677874801" sldId="2147471573"/>
        </pc:sldMkLst>
        <pc:spChg chg="mod">
          <ac:chgData name="Garcia Orive, Ana Belen" userId="98f346af-725a-4509-9a9a-5c4ab25f411d" providerId="ADAL" clId="{2D888C1D-96CD-45AB-9BB6-809121DB489F}" dt="2023-10-18T10:00:51.373" v="2260" actId="20577"/>
          <ac:spMkLst>
            <pc:docMk/>
            <pc:sldMk cId="1677874801" sldId="2147471573"/>
            <ac:spMk id="2" creationId="{D3903775-8DA9-486D-8DDE-5C2CEE04CE9D}"/>
          </ac:spMkLst>
        </pc:spChg>
        <pc:spChg chg="del">
          <ac:chgData name="Garcia Orive, Ana Belen" userId="98f346af-725a-4509-9a9a-5c4ab25f411d" providerId="ADAL" clId="{2D888C1D-96CD-45AB-9BB6-809121DB489F}" dt="2023-10-18T09:08:21.815" v="1076" actId="478"/>
          <ac:spMkLst>
            <pc:docMk/>
            <pc:sldMk cId="1677874801" sldId="2147471573"/>
            <ac:spMk id="3" creationId="{D619523F-E804-454A-9298-65CDED6A9D16}"/>
          </ac:spMkLst>
        </pc:spChg>
      </pc:sldChg>
      <pc:sldChg chg="del">
        <pc:chgData name="Garcia Orive, Ana Belen" userId="98f346af-725a-4509-9a9a-5c4ab25f411d" providerId="ADAL" clId="{2D888C1D-96CD-45AB-9BB6-809121DB489F}" dt="2023-10-11T15:46:44.855" v="6" actId="2696"/>
        <pc:sldMkLst>
          <pc:docMk/>
          <pc:sldMk cId="4227283030" sldId="2147471573"/>
        </pc:sldMkLst>
      </pc:sldChg>
      <pc:sldChg chg="del">
        <pc:chgData name="Garcia Orive, Ana Belen" userId="98f346af-725a-4509-9a9a-5c4ab25f411d" providerId="ADAL" clId="{2D888C1D-96CD-45AB-9BB6-809121DB489F}" dt="2023-10-11T15:46:48.403" v="7" actId="2696"/>
        <pc:sldMkLst>
          <pc:docMk/>
          <pc:sldMk cId="1737982429" sldId="2147471574"/>
        </pc:sldMkLst>
      </pc:sldChg>
      <pc:sldChg chg="addSp delSp modSp add del">
        <pc:chgData name="Garcia Orive, Ana Belen" userId="98f346af-725a-4509-9a9a-5c4ab25f411d" providerId="ADAL" clId="{2D888C1D-96CD-45AB-9BB6-809121DB489F}" dt="2023-10-18T10:22:50.203" v="3562" actId="20577"/>
        <pc:sldMkLst>
          <pc:docMk/>
          <pc:sldMk cId="3725800249" sldId="2147471574"/>
        </pc:sldMkLst>
        <pc:spChg chg="mod">
          <ac:chgData name="Garcia Orive, Ana Belen" userId="98f346af-725a-4509-9a9a-5c4ab25f411d" providerId="ADAL" clId="{2D888C1D-96CD-45AB-9BB6-809121DB489F}" dt="2023-10-18T10:08:57.233" v="2775" actId="1076"/>
          <ac:spMkLst>
            <pc:docMk/>
            <pc:sldMk cId="3725800249" sldId="2147471574"/>
            <ac:spMk id="2" creationId="{D169643A-5CAA-4239-9DBB-59E4D851F247}"/>
          </ac:spMkLst>
        </pc:spChg>
        <pc:spChg chg="del mod">
          <ac:chgData name="Garcia Orive, Ana Belen" userId="98f346af-725a-4509-9a9a-5c4ab25f411d" providerId="ADAL" clId="{2D888C1D-96CD-45AB-9BB6-809121DB489F}" dt="2023-10-18T09:53:30.487" v="1882" actId="478"/>
          <ac:spMkLst>
            <pc:docMk/>
            <pc:sldMk cId="3725800249" sldId="2147471574"/>
            <ac:spMk id="3" creationId="{2E2B6BB1-2A28-4664-B3AB-74EDCBDF42C4}"/>
          </ac:spMkLst>
        </pc:spChg>
        <pc:spChg chg="add del mod">
          <ac:chgData name="Garcia Orive, Ana Belen" userId="98f346af-725a-4509-9a9a-5c4ab25f411d" providerId="ADAL" clId="{2D888C1D-96CD-45AB-9BB6-809121DB489F}" dt="2023-10-18T09:53:33.619" v="1883" actId="478"/>
          <ac:spMkLst>
            <pc:docMk/>
            <pc:sldMk cId="3725800249" sldId="2147471574"/>
            <ac:spMk id="11" creationId="{290AB81F-38C1-40CD-A5EF-2F86115487CE}"/>
          </ac:spMkLst>
        </pc:spChg>
        <pc:spChg chg="add del mod">
          <ac:chgData name="Garcia Orive, Ana Belen" userId="98f346af-725a-4509-9a9a-5c4ab25f411d" providerId="ADAL" clId="{2D888C1D-96CD-45AB-9BB6-809121DB489F}" dt="2023-10-18T10:15:27.070" v="3204" actId="478"/>
          <ac:spMkLst>
            <pc:docMk/>
            <pc:sldMk cId="3725800249" sldId="2147471574"/>
            <ac:spMk id="12" creationId="{E1DEB704-2FF4-420A-928B-F8CDCB039008}"/>
          </ac:spMkLst>
        </pc:spChg>
        <pc:graphicFrameChg chg="add del mod modGraphic">
          <ac:chgData name="Garcia Orive, Ana Belen" userId="98f346af-725a-4509-9a9a-5c4ab25f411d" providerId="ADAL" clId="{2D888C1D-96CD-45AB-9BB6-809121DB489F}" dt="2023-10-18T10:22:50.203" v="3562" actId="20577"/>
          <ac:graphicFrameMkLst>
            <pc:docMk/>
            <pc:sldMk cId="3725800249" sldId="2147471574"/>
            <ac:graphicFrameMk id="8" creationId="{E067C03B-EEAD-4200-8F69-9B10A90025DC}"/>
          </ac:graphicFrameMkLst>
        </pc:graphicFrameChg>
      </pc:sldChg>
      <pc:sldChg chg="addSp modSp add">
        <pc:chgData name="Garcia Orive, Ana Belen" userId="98f346af-725a-4509-9a9a-5c4ab25f411d" providerId="ADAL" clId="{2D888C1D-96CD-45AB-9BB6-809121DB489F}" dt="2023-10-18T10:23:12.870" v="3567" actId="20577"/>
        <pc:sldMkLst>
          <pc:docMk/>
          <pc:sldMk cId="2409749467" sldId="2147471575"/>
        </pc:sldMkLst>
        <pc:spChg chg="mod">
          <ac:chgData name="Garcia Orive, Ana Belen" userId="98f346af-725a-4509-9a9a-5c4ab25f411d" providerId="ADAL" clId="{2D888C1D-96CD-45AB-9BB6-809121DB489F}" dt="2023-10-18T10:15:17.982" v="3203" actId="1076"/>
          <ac:spMkLst>
            <pc:docMk/>
            <pc:sldMk cId="2409749467" sldId="2147471575"/>
            <ac:spMk id="2" creationId="{D3903775-8DA9-486D-8DDE-5C2CEE04CE9D}"/>
          </ac:spMkLst>
        </pc:spChg>
        <pc:spChg chg="add mod">
          <ac:chgData name="Garcia Orive, Ana Belen" userId="98f346af-725a-4509-9a9a-5c4ab25f411d" providerId="ADAL" clId="{2D888C1D-96CD-45AB-9BB6-809121DB489F}" dt="2023-10-18T10:23:12.870" v="3567" actId="20577"/>
          <ac:spMkLst>
            <pc:docMk/>
            <pc:sldMk cId="2409749467" sldId="2147471575"/>
            <ac:spMk id="3" creationId="{9CB4FC56-0F51-48D2-85FA-6C27D981FCA0}"/>
          </ac:spMkLst>
        </pc:spChg>
      </pc:sldChg>
      <pc:sldMasterChg chg="delSldLayout">
        <pc:chgData name="Garcia Orive, Ana Belen" userId="98f346af-725a-4509-9a9a-5c4ab25f411d" providerId="ADAL" clId="{2D888C1D-96CD-45AB-9BB6-809121DB489F}" dt="2023-10-11T15:46:35.618" v="4" actId="2696"/>
        <pc:sldMasterMkLst>
          <pc:docMk/>
          <pc:sldMasterMk cId="1324022404" sldId="2147484119"/>
        </pc:sldMasterMkLst>
        <pc:sldLayoutChg chg="del">
          <pc:chgData name="Garcia Orive, Ana Belen" userId="98f346af-725a-4509-9a9a-5c4ab25f411d" providerId="ADAL" clId="{2D888C1D-96CD-45AB-9BB6-809121DB489F}" dt="2023-10-11T15:46:35.618" v="4" actId="2696"/>
          <pc:sldLayoutMkLst>
            <pc:docMk/>
            <pc:sldMasterMk cId="1324022404" sldId="2147484119"/>
            <pc:sldLayoutMk cId="2359793986" sldId="2147484152"/>
          </pc:sldLayoutMkLst>
        </pc:sldLayoutChg>
      </pc:sldMasterChg>
      <pc:sldMasterChg chg="del delSldLayout">
        <pc:chgData name="Garcia Orive, Ana Belen" userId="98f346af-725a-4509-9a9a-5c4ab25f411d" providerId="ADAL" clId="{2D888C1D-96CD-45AB-9BB6-809121DB489F}" dt="2023-10-18T09:07:59.969" v="1074" actId="2696"/>
        <pc:sldMasterMkLst>
          <pc:docMk/>
          <pc:sldMasterMk cId="2257771911" sldId="2147484154"/>
        </pc:sldMasterMkLst>
        <pc:sldLayoutChg chg="del">
          <pc:chgData name="Garcia Orive, Ana Belen" userId="98f346af-725a-4509-9a9a-5c4ab25f411d" providerId="ADAL" clId="{2D888C1D-96CD-45AB-9BB6-809121DB489F}" dt="2023-10-18T09:07:59.866" v="1042" actId="2696"/>
          <pc:sldLayoutMkLst>
            <pc:docMk/>
            <pc:sldMasterMk cId="2257771911" sldId="2147484154"/>
            <pc:sldLayoutMk cId="1658610263" sldId="2147484155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68" v="1043" actId="2696"/>
          <pc:sldLayoutMkLst>
            <pc:docMk/>
            <pc:sldMasterMk cId="2257771911" sldId="2147484154"/>
            <pc:sldLayoutMk cId="1254561077" sldId="2147484156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69" v="1044" actId="2696"/>
          <pc:sldLayoutMkLst>
            <pc:docMk/>
            <pc:sldMasterMk cId="2257771911" sldId="2147484154"/>
            <pc:sldLayoutMk cId="3395010497" sldId="2147484157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71" v="1045" actId="2696"/>
          <pc:sldLayoutMkLst>
            <pc:docMk/>
            <pc:sldMasterMk cId="2257771911" sldId="2147484154"/>
            <pc:sldLayoutMk cId="3875978784" sldId="2147484158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74" v="1046" actId="2696"/>
          <pc:sldLayoutMkLst>
            <pc:docMk/>
            <pc:sldMasterMk cId="2257771911" sldId="2147484154"/>
            <pc:sldLayoutMk cId="2931167400" sldId="2147484159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76" v="1047" actId="2696"/>
          <pc:sldLayoutMkLst>
            <pc:docMk/>
            <pc:sldMasterMk cId="2257771911" sldId="2147484154"/>
            <pc:sldLayoutMk cId="2470415892" sldId="2147484160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78" v="1048" actId="2696"/>
          <pc:sldLayoutMkLst>
            <pc:docMk/>
            <pc:sldMasterMk cId="2257771911" sldId="2147484154"/>
            <pc:sldLayoutMk cId="1017424238" sldId="2147484161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80" v="1049" actId="2696"/>
          <pc:sldLayoutMkLst>
            <pc:docMk/>
            <pc:sldMasterMk cId="2257771911" sldId="2147484154"/>
            <pc:sldLayoutMk cId="1501253977" sldId="2147484162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81" v="1050" actId="2696"/>
          <pc:sldLayoutMkLst>
            <pc:docMk/>
            <pc:sldMasterMk cId="2257771911" sldId="2147484154"/>
            <pc:sldLayoutMk cId="3710681800" sldId="2147484163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83" v="1051" actId="2696"/>
          <pc:sldLayoutMkLst>
            <pc:docMk/>
            <pc:sldMasterMk cId="2257771911" sldId="2147484154"/>
            <pc:sldLayoutMk cId="403591761" sldId="2147484164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84" v="1052" actId="2696"/>
          <pc:sldLayoutMkLst>
            <pc:docMk/>
            <pc:sldMasterMk cId="2257771911" sldId="2147484154"/>
            <pc:sldLayoutMk cId="1944214977" sldId="2147484165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86" v="1053" actId="2696"/>
          <pc:sldLayoutMkLst>
            <pc:docMk/>
            <pc:sldMasterMk cId="2257771911" sldId="2147484154"/>
            <pc:sldLayoutMk cId="1301465290" sldId="2147484166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89" v="1054" actId="2696"/>
          <pc:sldLayoutMkLst>
            <pc:docMk/>
            <pc:sldMasterMk cId="2257771911" sldId="2147484154"/>
            <pc:sldLayoutMk cId="2573053740" sldId="2147484167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94" v="1055" actId="2696"/>
          <pc:sldLayoutMkLst>
            <pc:docMk/>
            <pc:sldMasterMk cId="2257771911" sldId="2147484154"/>
            <pc:sldLayoutMk cId="2326887746" sldId="2147484168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95" v="1056" actId="2696"/>
          <pc:sldLayoutMkLst>
            <pc:docMk/>
            <pc:sldMasterMk cId="2257771911" sldId="2147484154"/>
            <pc:sldLayoutMk cId="1782080279" sldId="2147484169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96" v="1057" actId="2696"/>
          <pc:sldLayoutMkLst>
            <pc:docMk/>
            <pc:sldMasterMk cId="2257771911" sldId="2147484154"/>
            <pc:sldLayoutMk cId="1557189201" sldId="2147484170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898" v="1058" actId="2696"/>
          <pc:sldLayoutMkLst>
            <pc:docMk/>
            <pc:sldMasterMk cId="2257771911" sldId="2147484154"/>
            <pc:sldLayoutMk cId="3582630490" sldId="2147484171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00" v="1059" actId="2696"/>
          <pc:sldLayoutMkLst>
            <pc:docMk/>
            <pc:sldMasterMk cId="2257771911" sldId="2147484154"/>
            <pc:sldLayoutMk cId="3945080818" sldId="2147484172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02" v="1060" actId="2696"/>
          <pc:sldLayoutMkLst>
            <pc:docMk/>
            <pc:sldMasterMk cId="2257771911" sldId="2147484154"/>
            <pc:sldLayoutMk cId="4176303300" sldId="2147484173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04" v="1061" actId="2696"/>
          <pc:sldLayoutMkLst>
            <pc:docMk/>
            <pc:sldMasterMk cId="2257771911" sldId="2147484154"/>
            <pc:sldLayoutMk cId="1241066798" sldId="2147484174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07" v="1062" actId="2696"/>
          <pc:sldLayoutMkLst>
            <pc:docMk/>
            <pc:sldMasterMk cId="2257771911" sldId="2147484154"/>
            <pc:sldLayoutMk cId="1600271149" sldId="2147484175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11" v="1063" actId="2696"/>
          <pc:sldLayoutMkLst>
            <pc:docMk/>
            <pc:sldMasterMk cId="2257771911" sldId="2147484154"/>
            <pc:sldLayoutMk cId="2926670796" sldId="2147484176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12" v="1064" actId="2696"/>
          <pc:sldLayoutMkLst>
            <pc:docMk/>
            <pc:sldMasterMk cId="2257771911" sldId="2147484154"/>
            <pc:sldLayoutMk cId="870090852" sldId="2147484177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14" v="1065" actId="2696"/>
          <pc:sldLayoutMkLst>
            <pc:docMk/>
            <pc:sldMasterMk cId="2257771911" sldId="2147484154"/>
            <pc:sldLayoutMk cId="1389636103" sldId="2147484178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16" v="1066" actId="2696"/>
          <pc:sldLayoutMkLst>
            <pc:docMk/>
            <pc:sldMasterMk cId="2257771911" sldId="2147484154"/>
            <pc:sldLayoutMk cId="745051361" sldId="2147484179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18" v="1067" actId="2696"/>
          <pc:sldLayoutMkLst>
            <pc:docMk/>
            <pc:sldMasterMk cId="2257771911" sldId="2147484154"/>
            <pc:sldLayoutMk cId="937199444" sldId="2147484180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19" v="1068" actId="2696"/>
          <pc:sldLayoutMkLst>
            <pc:docMk/>
            <pc:sldMasterMk cId="2257771911" sldId="2147484154"/>
            <pc:sldLayoutMk cId="2717760507" sldId="2147484181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21" v="1069" actId="2696"/>
          <pc:sldLayoutMkLst>
            <pc:docMk/>
            <pc:sldMasterMk cId="2257771911" sldId="2147484154"/>
            <pc:sldLayoutMk cId="2395977858" sldId="2147484182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26" v="1070" actId="2696"/>
          <pc:sldLayoutMkLst>
            <pc:docMk/>
            <pc:sldMasterMk cId="2257771911" sldId="2147484154"/>
            <pc:sldLayoutMk cId="1494792987" sldId="2147484183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28" v="1071" actId="2696"/>
          <pc:sldLayoutMkLst>
            <pc:docMk/>
            <pc:sldMasterMk cId="2257771911" sldId="2147484154"/>
            <pc:sldLayoutMk cId="9388664" sldId="2147484184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30" v="1072" actId="2696"/>
          <pc:sldLayoutMkLst>
            <pc:docMk/>
            <pc:sldMasterMk cId="2257771911" sldId="2147484154"/>
            <pc:sldLayoutMk cId="882119496" sldId="2147484185"/>
          </pc:sldLayoutMkLst>
        </pc:sldLayoutChg>
        <pc:sldLayoutChg chg="del">
          <pc:chgData name="Garcia Orive, Ana Belen" userId="98f346af-725a-4509-9a9a-5c4ab25f411d" providerId="ADAL" clId="{2D888C1D-96CD-45AB-9BB6-809121DB489F}" dt="2023-10-18T09:07:59.931" v="1073" actId="2696"/>
          <pc:sldLayoutMkLst>
            <pc:docMk/>
            <pc:sldMasterMk cId="2257771911" sldId="2147484154"/>
            <pc:sldLayoutMk cId="344857849" sldId="2147484186"/>
          </pc:sldLayoutMkLst>
        </pc:sldLayoutChg>
        <pc:sldLayoutChg chg="del">
          <pc:chgData name="Garcia Orive, Ana Belen" userId="98f346af-725a-4509-9a9a-5c4ab25f411d" providerId="ADAL" clId="{2D888C1D-96CD-45AB-9BB6-809121DB489F}" dt="2023-10-11T15:47:22.376" v="17" actId="2696"/>
          <pc:sldLayoutMkLst>
            <pc:docMk/>
            <pc:sldMasterMk cId="2257771911" sldId="2147484154"/>
            <pc:sldLayoutMk cId="2130874338" sldId="2147484187"/>
          </pc:sldLayoutMkLst>
        </pc:sldLayoutChg>
        <pc:sldLayoutChg chg="del">
          <pc:chgData name="Garcia Orive, Ana Belen" userId="98f346af-725a-4509-9a9a-5c4ab25f411d" providerId="ADAL" clId="{2D888C1D-96CD-45AB-9BB6-809121DB489F}" dt="2023-10-11T15:47:12.814" v="9" actId="2696"/>
          <pc:sldLayoutMkLst>
            <pc:docMk/>
            <pc:sldMasterMk cId="2257771911" sldId="2147484154"/>
            <pc:sldLayoutMk cId="601859565" sldId="2147484188"/>
          </pc:sldLayoutMkLst>
        </pc:sldLayoutChg>
      </pc:sldMasterChg>
    </pc:docChg>
  </pc:docChgLst>
  <pc:docChgLst>
    <pc:chgData name="Bedia, Mayda" userId="6e0adc47-4ca1-42c6-a9cf-5a9c105ab15f" providerId="ADAL" clId="{996BB822-77AE-45F6-8F8D-52DA7A85F5F9}"/>
    <pc:docChg chg="undo custSel modSld sldOrd">
      <pc:chgData name="Bedia, Mayda" userId="6e0adc47-4ca1-42c6-a9cf-5a9c105ab15f" providerId="ADAL" clId="{996BB822-77AE-45F6-8F8D-52DA7A85F5F9}" dt="2023-11-29T13:26:06.171" v="1482" actId="20577"/>
      <pc:docMkLst>
        <pc:docMk/>
      </pc:docMkLst>
      <pc:sldChg chg="addSp delSp modSp mod">
        <pc:chgData name="Bedia, Mayda" userId="6e0adc47-4ca1-42c6-a9cf-5a9c105ab15f" providerId="ADAL" clId="{996BB822-77AE-45F6-8F8D-52DA7A85F5F9}" dt="2023-11-29T13:26:06.171" v="1482" actId="20577"/>
        <pc:sldMkLst>
          <pc:docMk/>
          <pc:sldMk cId="3725800249" sldId="2147471574"/>
        </pc:sldMkLst>
        <pc:spChg chg="del mod">
          <ac:chgData name="Bedia, Mayda" userId="6e0adc47-4ca1-42c6-a9cf-5a9c105ab15f" providerId="ADAL" clId="{996BB822-77AE-45F6-8F8D-52DA7A85F5F9}" dt="2023-11-29T11:50:17.283" v="1236" actId="478"/>
          <ac:spMkLst>
            <pc:docMk/>
            <pc:sldMk cId="3725800249" sldId="2147471574"/>
            <ac:spMk id="2" creationId="{D169643A-5CAA-4239-9DBB-59E4D851F247}"/>
          </ac:spMkLst>
        </pc:spChg>
        <pc:graphicFrameChg chg="add del modGraphic">
          <ac:chgData name="Bedia, Mayda" userId="6e0adc47-4ca1-42c6-a9cf-5a9c105ab15f" providerId="ADAL" clId="{996BB822-77AE-45F6-8F8D-52DA7A85F5F9}" dt="2023-11-29T13:22:42.878" v="1430" actId="478"/>
          <ac:graphicFrameMkLst>
            <pc:docMk/>
            <pc:sldMk cId="3725800249" sldId="2147471574"/>
            <ac:graphicFrameMk id="3" creationId="{D6901BFC-3CBF-4C0E-98CA-5575092DF804}"/>
          </ac:graphicFrameMkLst>
        </pc:graphicFrameChg>
        <pc:graphicFrameChg chg="mod modGraphic">
          <ac:chgData name="Bedia, Mayda" userId="6e0adc47-4ca1-42c6-a9cf-5a9c105ab15f" providerId="ADAL" clId="{996BB822-77AE-45F6-8F8D-52DA7A85F5F9}" dt="2023-11-29T13:26:06.171" v="1482" actId="20577"/>
          <ac:graphicFrameMkLst>
            <pc:docMk/>
            <pc:sldMk cId="3725800249" sldId="2147471574"/>
            <ac:graphicFrameMk id="8" creationId="{E067C03B-EEAD-4200-8F69-9B10A90025DC}"/>
          </ac:graphicFrameMkLst>
        </pc:graphicFrameChg>
      </pc:sldChg>
      <pc:sldChg chg="modSp mod ord">
        <pc:chgData name="Bedia, Mayda" userId="6e0adc47-4ca1-42c6-a9cf-5a9c105ab15f" providerId="ADAL" clId="{996BB822-77AE-45F6-8F8D-52DA7A85F5F9}" dt="2023-11-29T13:22:07.274" v="1413" actId="20577"/>
        <pc:sldMkLst>
          <pc:docMk/>
          <pc:sldMk cId="2409749467" sldId="2147471575"/>
        </pc:sldMkLst>
        <pc:spChg chg="mod">
          <ac:chgData name="Bedia, Mayda" userId="6e0adc47-4ca1-42c6-a9cf-5a9c105ab15f" providerId="ADAL" clId="{996BB822-77AE-45F6-8F8D-52DA7A85F5F9}" dt="2023-11-29T13:21:09.804" v="1292" actId="1076"/>
          <ac:spMkLst>
            <pc:docMk/>
            <pc:sldMk cId="2409749467" sldId="2147471575"/>
            <ac:spMk id="2" creationId="{D3903775-8DA9-486D-8DDE-5C2CEE04CE9D}"/>
          </ac:spMkLst>
        </pc:spChg>
        <pc:spChg chg="mod">
          <ac:chgData name="Bedia, Mayda" userId="6e0adc47-4ca1-42c6-a9cf-5a9c105ab15f" providerId="ADAL" clId="{996BB822-77AE-45F6-8F8D-52DA7A85F5F9}" dt="2023-11-29T13:22:07.274" v="1413" actId="20577"/>
          <ac:spMkLst>
            <pc:docMk/>
            <pc:sldMk cId="2409749467" sldId="2147471575"/>
            <ac:spMk id="3" creationId="{9CB4FC56-0F51-48D2-85FA-6C27D981FCA0}"/>
          </ac:spMkLst>
        </pc:spChg>
      </pc:sldChg>
    </pc:docChg>
  </pc:docChgLst>
  <pc:docChgLst>
    <pc:chgData name="Garcia Orive, Ana Belen" userId="98f346af-725a-4509-9a9a-5c4ab25f411d" providerId="ADAL" clId="{126FE7B8-33A2-4B21-8592-DA3DABCEA1FD}"/>
    <pc:docChg chg="modSld">
      <pc:chgData name="Garcia Orive, Ana Belen" userId="98f346af-725a-4509-9a9a-5c4ab25f411d" providerId="ADAL" clId="{126FE7B8-33A2-4B21-8592-DA3DABCEA1FD}" dt="2023-03-30T14:54:33.157" v="5" actId="20577"/>
      <pc:docMkLst>
        <pc:docMk/>
      </pc:docMkLst>
      <pc:sldChg chg="modSp">
        <pc:chgData name="Garcia Orive, Ana Belen" userId="98f346af-725a-4509-9a9a-5c4ab25f411d" providerId="ADAL" clId="{126FE7B8-33A2-4B21-8592-DA3DABCEA1FD}" dt="2023-03-30T14:54:33.157" v="5" actId="20577"/>
        <pc:sldMkLst>
          <pc:docMk/>
          <pc:sldMk cId="1975320800" sldId="2145706965"/>
        </pc:sldMkLst>
        <pc:spChg chg="mod">
          <ac:chgData name="Garcia Orive, Ana Belen" userId="98f346af-725a-4509-9a9a-5c4ab25f411d" providerId="ADAL" clId="{126FE7B8-33A2-4B21-8592-DA3DABCEA1FD}" dt="2023-03-30T14:54:33.157" v="5" actId="20577"/>
          <ac:spMkLst>
            <pc:docMk/>
            <pc:sldMk cId="1975320800" sldId="2145706965"/>
            <ac:spMk id="2" creationId="{AC514B0D-974F-A7CA-2082-E680EAE06F2C}"/>
          </ac:spMkLst>
        </pc:spChg>
      </pc:sldChg>
    </pc:docChg>
  </pc:docChgLst>
  <pc:docChgLst>
    <pc:chgData name="Garcia Orive, Ana Belen" userId="S::p551261@arcelormittal.es::98f346af-725a-4509-9a9a-5c4ab25f411d" providerId="AD" clId="Web-{3E5D284E-402A-A0EF-272B-CFC68870D02E}"/>
    <pc:docChg chg="modSld">
      <pc:chgData name="Garcia Orive, Ana Belen" userId="S::p551261@arcelormittal.es::98f346af-725a-4509-9a9a-5c4ab25f411d" providerId="AD" clId="Web-{3E5D284E-402A-A0EF-272B-CFC68870D02E}" dt="2023-03-30T08:14:30.007" v="98" actId="20577"/>
      <pc:docMkLst>
        <pc:docMk/>
      </pc:docMkLst>
      <pc:sldChg chg="delSp modSp">
        <pc:chgData name="Garcia Orive, Ana Belen" userId="S::p551261@arcelormittal.es::98f346af-725a-4509-9a9a-5c4ab25f411d" providerId="AD" clId="Web-{3E5D284E-402A-A0EF-272B-CFC68870D02E}" dt="2023-03-30T08:14:30.007" v="98" actId="20577"/>
        <pc:sldMkLst>
          <pc:docMk/>
          <pc:sldMk cId="1137967090" sldId="2147471560"/>
        </pc:sldMkLst>
        <pc:spChg chg="del">
          <ac:chgData name="Garcia Orive, Ana Belen" userId="S::p551261@arcelormittal.es::98f346af-725a-4509-9a9a-5c4ab25f411d" providerId="AD" clId="Web-{3E5D284E-402A-A0EF-272B-CFC68870D02E}" dt="2023-03-30T08:12:38.161" v="50"/>
          <ac:spMkLst>
            <pc:docMk/>
            <pc:sldMk cId="1137967090" sldId="2147471560"/>
            <ac:spMk id="4" creationId="{2E562FAB-4E4B-48E7-8E20-570C82C347F4}"/>
          </ac:spMkLst>
        </pc:spChg>
        <pc:spChg chg="mod">
          <ac:chgData name="Garcia Orive, Ana Belen" userId="S::p551261@arcelormittal.es::98f346af-725a-4509-9a9a-5c4ab25f411d" providerId="AD" clId="Web-{3E5D284E-402A-A0EF-272B-CFC68870D02E}" dt="2023-03-30T08:14:30.007" v="98" actId="20577"/>
          <ac:spMkLst>
            <pc:docMk/>
            <pc:sldMk cId="1137967090" sldId="2147471560"/>
            <ac:spMk id="16" creationId="{A4CB2068-8D17-4FFD-A7F8-3ECCD44E5547}"/>
          </ac:spMkLst>
        </pc:spChg>
        <pc:spChg chg="del">
          <ac:chgData name="Garcia Orive, Ana Belen" userId="S::p551261@arcelormittal.es::98f346af-725a-4509-9a9a-5c4ab25f411d" providerId="AD" clId="Web-{3E5D284E-402A-A0EF-272B-CFC68870D02E}" dt="2023-03-30T08:12:44.411" v="51"/>
          <ac:spMkLst>
            <pc:docMk/>
            <pc:sldMk cId="1137967090" sldId="2147471560"/>
            <ac:spMk id="18" creationId="{F252F900-AC2D-4234-B403-63A28EDB53AD}"/>
          </ac:spMkLst>
        </pc:spChg>
      </pc:sldChg>
    </pc:docChg>
  </pc:docChgLst>
  <pc:docChgLst>
    <pc:chgData name="Garcia Orive, Ana Belen" userId="98f346af-725a-4509-9a9a-5c4ab25f411d" providerId="ADAL" clId="{D86BAE7A-8D50-4545-BDD8-2043EE82FE5F}"/>
    <pc:docChg chg="custSel modSld">
      <pc:chgData name="Garcia Orive, Ana Belen" userId="98f346af-725a-4509-9a9a-5c4ab25f411d" providerId="ADAL" clId="{D86BAE7A-8D50-4545-BDD8-2043EE82FE5F}" dt="2023-03-30T08:26:19.823" v="273" actId="20577"/>
      <pc:docMkLst>
        <pc:docMk/>
      </pc:docMkLst>
      <pc:sldChg chg="modSp">
        <pc:chgData name="Garcia Orive, Ana Belen" userId="98f346af-725a-4509-9a9a-5c4ab25f411d" providerId="ADAL" clId="{D86BAE7A-8D50-4545-BDD8-2043EE82FE5F}" dt="2023-03-30T08:26:19.823" v="273" actId="20577"/>
        <pc:sldMkLst>
          <pc:docMk/>
          <pc:sldMk cId="1137967090" sldId="2147471560"/>
        </pc:sldMkLst>
        <pc:spChg chg="mod">
          <ac:chgData name="Garcia Orive, Ana Belen" userId="98f346af-725a-4509-9a9a-5c4ab25f411d" providerId="ADAL" clId="{D86BAE7A-8D50-4545-BDD8-2043EE82FE5F}" dt="2023-03-30T08:26:19.823" v="273" actId="20577"/>
          <ac:spMkLst>
            <pc:docMk/>
            <pc:sldMk cId="1137967090" sldId="2147471560"/>
            <ac:spMk id="16" creationId="{A4CB2068-8D17-4FFD-A7F8-3ECCD44E554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15FB2C-D0D5-49A9-98F1-925E2C0F6A9D}" type="datetimeFigureOut">
              <a:rPr lang="en-GB" smtClean="0"/>
              <a:t>29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AC812A-DEDA-4792-8F26-E53EDDBE7EB9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8300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899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579987" y="5418138"/>
            <a:ext cx="11004551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02899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88439" y="4003681"/>
            <a:ext cx="10996084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584200" y="6324601"/>
            <a:ext cx="3041651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100" b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96D6300-FE1E-416B-9031-7EE42DFC2851}" type="datetime1">
              <a:rPr lang="es-ES"/>
              <a:pPr>
                <a:defRPr/>
              </a:pPr>
              <a:t>29/11/2023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4305300" y="6324601"/>
            <a:ext cx="38608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100" b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4251" y="6324601"/>
            <a:ext cx="2540000" cy="269875"/>
          </a:xfrm>
          <a:prstGeom prst="rect">
            <a:avLst/>
          </a:prstGeom>
        </p:spPr>
        <p:txBody>
          <a:bodyPr/>
          <a:lstStyle>
            <a:lvl1pPr algn="r" eaLnBrk="0" hangingPunct="0">
              <a:defRPr sz="900" baseline="0">
                <a:solidFill>
                  <a:srgbClr val="FFFFFF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1ED79CA2-3453-42A8-851C-C85FC230BEF0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085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9547707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8822267" y="244475"/>
            <a:ext cx="2745317" cy="583088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584207" y="244475"/>
            <a:ext cx="8034867" cy="583088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0146513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ítulo y tab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84201" y="244477"/>
            <a:ext cx="9268884" cy="7921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abla"/>
          <p:cNvSpPr>
            <a:spLocks noGrp="1"/>
          </p:cNvSpPr>
          <p:nvPr>
            <p:ph type="tbl" idx="1"/>
          </p:nvPr>
        </p:nvSpPr>
        <p:spPr>
          <a:xfrm>
            <a:off x="586319" y="1306513"/>
            <a:ext cx="10981267" cy="4768850"/>
          </a:xfrm>
        </p:spPr>
        <p:txBody>
          <a:bodyPr/>
          <a:lstStyle/>
          <a:p>
            <a:pPr lvl="0"/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34335812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586317" y="1960563"/>
            <a:ext cx="10981267" cy="4114800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192933" y="6197600"/>
            <a:ext cx="694267" cy="4445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B7D626-076A-4970-99A1-B24B07688FCD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87317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ítulo y 4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sz="quarter"/>
          </p:nvPr>
        </p:nvSpPr>
        <p:spPr>
          <a:xfrm>
            <a:off x="584201" y="549276"/>
            <a:ext cx="10979151" cy="7921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quarter" idx="1"/>
          </p:nvPr>
        </p:nvSpPr>
        <p:spPr>
          <a:xfrm>
            <a:off x="586318" y="1960563"/>
            <a:ext cx="5389033" cy="1981200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quarter" idx="2"/>
          </p:nvPr>
        </p:nvSpPr>
        <p:spPr>
          <a:xfrm>
            <a:off x="6178552" y="1960563"/>
            <a:ext cx="5389033" cy="1981200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contenido"/>
          <p:cNvSpPr>
            <a:spLocks noGrp="1"/>
          </p:cNvSpPr>
          <p:nvPr>
            <p:ph sz="quarter" idx="3"/>
          </p:nvPr>
        </p:nvSpPr>
        <p:spPr>
          <a:xfrm>
            <a:off x="586318" y="4094163"/>
            <a:ext cx="5389033" cy="1981200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6178552" y="4094163"/>
            <a:ext cx="5389033" cy="1981200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584200" y="6324601"/>
            <a:ext cx="3549651" cy="2571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944C75-CDF5-4923-8ABD-FA9ADAC629B4}" type="datetime1">
              <a:rPr lang="en-GB"/>
              <a:pPr>
                <a:defRPr/>
              </a:pPr>
              <a:t>29/11/2023</a:t>
            </a:fld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6354233" y="6324601"/>
            <a:ext cx="2286000" cy="2698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078384" y="6324601"/>
            <a:ext cx="2065867" cy="2698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7BD877-18AC-4B0E-8079-D6210272BF57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25752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bg>
      <p:bgPr>
        <a:blipFill dpi="0" rotWithShape="0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BB5D7BA-B5BA-428F-BBA5-87C97F21E2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79388" y="1727387"/>
            <a:ext cx="11832613" cy="4951226"/>
          </a:xfrm>
        </p:spPr>
        <p:txBody>
          <a:bodyPr lIns="72000" tIns="72000" rIns="72000" bIns="72000"/>
          <a:lstStyle>
            <a:lvl1pPr marL="75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aga clic en el icono para agregar una imagen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700800" y="5421600"/>
            <a:ext cx="7680000" cy="6480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aga clic para modificar el estilo de subtítulo del patrón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700800" y="4564800"/>
            <a:ext cx="7680000" cy="831600"/>
          </a:xfrm>
        </p:spPr>
        <p:txBody>
          <a:bodyPr anchor="t"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aga clic para modificar el estilo de título del patró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1AC12B1-0300-415B-BD1A-5ED8BF35DE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52647" y="353692"/>
            <a:ext cx="2067635" cy="898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2469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676" y="126360"/>
            <a:ext cx="11352012" cy="432000"/>
          </a:xfrm>
        </p:spPr>
        <p:txBody>
          <a:bodyPr/>
          <a:lstStyle/>
          <a:p>
            <a:r>
              <a:rPr lang="en-US" noProof="0" err="1"/>
              <a:t>Haga</a:t>
            </a:r>
            <a:r>
              <a:rPr lang="en-US" noProof="0"/>
              <a:t> </a:t>
            </a:r>
            <a:r>
              <a:rPr lang="en-US" noProof="0" err="1"/>
              <a:t>clic</a:t>
            </a:r>
            <a:r>
              <a:rPr lang="en-US" noProof="0"/>
              <a:t> para </a:t>
            </a:r>
            <a:r>
              <a:rPr lang="en-US" noProof="0" err="1"/>
              <a:t>modificar</a:t>
            </a:r>
            <a:r>
              <a:rPr lang="en-US" noProof="0"/>
              <a:t> el </a:t>
            </a:r>
            <a:r>
              <a:rPr lang="en-US" noProof="0" err="1"/>
              <a:t>estilo</a:t>
            </a:r>
            <a:r>
              <a:rPr lang="en-US" noProof="0"/>
              <a:t> de </a:t>
            </a:r>
            <a:r>
              <a:rPr lang="en-US" noProof="0" err="1"/>
              <a:t>título</a:t>
            </a:r>
            <a:r>
              <a:rPr lang="en-US" noProof="0"/>
              <a:t> del </a:t>
            </a:r>
            <a:r>
              <a:rPr lang="en-US" noProof="0" err="1"/>
              <a:t>patrón</a:t>
            </a:r>
            <a:endParaRPr lang="en-US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260000"/>
            <a:ext cx="11352012" cy="4104000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>
                <a:solidFill>
                  <a:srgbClr val="696969"/>
                </a:solidFill>
              </a:rPr>
              <a:t>Página </a:t>
            </a:r>
            <a:fld id="{43667527-7C42-4D8C-9BD4-204D132C7D2E}" type="slidenum">
              <a:rPr lang="es-ES" smtClean="0">
                <a:solidFill>
                  <a:srgbClr val="696969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696969"/>
              </a:solidFill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DE65D08B-79C9-485D-A876-9F63BA201D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>
                <a:solidFill>
                  <a:srgbClr val="696969"/>
                </a:solidFill>
              </a:rPr>
              <a:t>Restricted information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D7F194B-4125-45EA-9042-E9682F3378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s-ES">
                <a:solidFill>
                  <a:srgbClr val="696969"/>
                </a:solidFill>
              </a:rPr>
              <a:t>February 2020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74028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338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198719"/>
            <a:ext cx="11352012" cy="43200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260000"/>
            <a:ext cx="11352012" cy="4752000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1D067FA-704F-4565-BD79-FEDF669F1EF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>
                <a:solidFill>
                  <a:srgbClr val="696969"/>
                </a:solidFill>
              </a:rPr>
              <a:t>Página </a:t>
            </a:r>
            <a:fld id="{43667527-7C42-4D8C-9BD4-204D132C7D2E}" type="slidenum">
              <a:rPr lang="es-ES" smtClean="0">
                <a:solidFill>
                  <a:srgbClr val="696969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696969"/>
              </a:solidFill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E393F749-AC7C-4FC3-8474-84925B26C13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>
                <a:solidFill>
                  <a:srgbClr val="696969"/>
                </a:solidFill>
              </a:rPr>
              <a:t>Restricted information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CDF99922-1635-4F71-88B4-1E28F3F26A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s-ES">
                <a:solidFill>
                  <a:srgbClr val="696969"/>
                </a:solidFill>
              </a:rPr>
              <a:t>February 2020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DC82022E-CCEB-4FA5-8A53-474D542504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14406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3793">
          <p15:clr>
            <a:srgbClr val="FBAE40"/>
          </p15:clr>
        </p15:guide>
        <p15:guide id="4" pos="25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Haga clic para modificar el estilo de títul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EF3E35-7BAC-4DAC-BF73-B39646774A9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>
                <a:solidFill>
                  <a:srgbClr val="696969"/>
                </a:solidFill>
              </a:rPr>
              <a:t>Página </a:t>
            </a:r>
            <a:fld id="{43667527-7C42-4D8C-9BD4-204D132C7D2E}" type="slidenum">
              <a:rPr lang="es-ES" smtClean="0">
                <a:solidFill>
                  <a:srgbClr val="696969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696969"/>
              </a:solidFill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E0521D8-6A60-4405-94E6-87B45B43D5AB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>
                <a:solidFill>
                  <a:srgbClr val="696969"/>
                </a:solidFill>
              </a:rPr>
              <a:t>Restricted information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4F3790A2-3ED4-476F-AF15-FF864ED228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s-ES">
                <a:solidFill>
                  <a:srgbClr val="696969"/>
                </a:solidFill>
              </a:rPr>
              <a:t>February 2020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9495B5C2-4F1F-4340-BBFC-A2FFB911E3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740071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377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994" y="90719"/>
            <a:ext cx="11352012" cy="34199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17393B6-4A6C-4AF7-AAE8-A83DEE27997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19994" y="451221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Rectangle 6">
            <a:extLst>
              <a:ext uri="{FF2B5EF4-FFF2-40B4-BE49-F238E27FC236}">
                <a16:creationId xmlns:a16="http://schemas.microsoft.com/office/drawing/2014/main" id="{00D8D745-A917-4544-B52C-C167B938FC8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>
                <a:solidFill>
                  <a:srgbClr val="696969"/>
                </a:solidFill>
              </a:rPr>
              <a:t>Página </a:t>
            </a:r>
            <a:fld id="{43667527-7C42-4D8C-9BD4-204D132C7D2E}" type="slidenum">
              <a:rPr lang="es-ES" smtClean="0">
                <a:solidFill>
                  <a:srgbClr val="696969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696969"/>
              </a:solidFill>
            </a:endParaRP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18736158-736B-4C99-AE3E-5DE67DF6BB4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>
                <a:solidFill>
                  <a:srgbClr val="696969"/>
                </a:solidFill>
              </a:rPr>
              <a:t>Restricted information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5B403315-6CB3-4D1B-932F-9111D4E0A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s-ES">
                <a:solidFill>
                  <a:srgbClr val="696969"/>
                </a:solidFill>
              </a:rPr>
              <a:t>February 2020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0265565-0FCB-497B-A8F2-D7772FBF1E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377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4975811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AF4234D-5C79-416E-9DD6-CB6704CF66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9BB59FA-80DB-4CA0-B5E7-CB3C373753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553212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06F715B-1855-4ADC-B000-18FE6164EF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CB00172-1E3E-401D-ABDB-0A91C569B8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0F7F797-39FA-4C90-BF80-53895A35D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68389-A2FC-47B6-A137-4E9B89D28999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5807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260000"/>
            <a:ext cx="11352012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DE65D08B-79C9-485D-A876-9F63BA201D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D7F194B-4125-45EA-9042-E9682F3378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2734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53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260000"/>
            <a:ext cx="11352012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5703CFA7-A538-4501-859A-21256EBD78A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87C43110-7893-4132-8872-7964F9A4CE7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AA44342B-3089-4622-91B7-14FDB45E49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5E5C279-D9D3-4F4D-A16B-830F2086E5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60D11CD-153A-014B-8473-9D9528003D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534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orient="horz" pos="2539">
          <p15:clr>
            <a:srgbClr val="FBAE40"/>
          </p15:clr>
        </p15:guide>
        <p15:guide id="4" pos="193">
          <p15:clr>
            <a:srgbClr val="FBAE40"/>
          </p15:clr>
        </p15:guide>
        <p15:guide id="5" pos="556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260000"/>
            <a:ext cx="11352012" cy="4752000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5892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67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orient="horz" pos="2845">
          <p15:clr>
            <a:srgbClr val="FBAE40"/>
          </p15:clr>
        </p15:guide>
        <p15:guide id="4" pos="19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260000"/>
            <a:ext cx="11352012" cy="475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79A5DEB5-22C5-476C-A468-B2DD9C35F64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21EBDCD7-77A5-4BC7-96F7-DED46AF71ED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3504EB2-1848-44C8-9FAD-B72B04C0D8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4DC2FC-5160-BB48-8152-2941FC5777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615AB5E-0C86-BB44-A5E2-E04F5E251F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325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orient="horz" pos="2845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260000"/>
            <a:ext cx="5400000" cy="4104000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0000" y="1260000"/>
            <a:ext cx="5400000" cy="4104000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B63F7A3-D2B3-45F4-BD1B-57C8EA14999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8AC47872-D543-4BEF-BA7A-CB53103BE82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EE9AE11-EE74-483E-A73A-9C916D29CA6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1DA9F3-AC85-6A4E-BE52-E8DB76395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9639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53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3AAC17B3-09B8-46B1-86DA-C442998FCF4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E7CD3C6-BAEE-46A0-B9A3-D5C64251D7A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5243F8BA-4DDF-4B73-ADD4-92881531B26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AC1E16F-74C5-F849-A8D3-197AB67107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260000"/>
            <a:ext cx="5400000" cy="4104000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1748EB0-AF6A-954E-80B0-F1F7430201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0000" y="1260000"/>
            <a:ext cx="5400000" cy="4104000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A8CD73C-7723-E14B-85A6-38A5D52880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71BFF13-D877-F74E-A5B0-A85CEE173C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432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orient="horz" pos="2539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8F719EB-2A7D-4C10-A9AD-0BBE86E0A48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CA2E85CE-3AE3-4AA3-A5BD-94D69F59F7A2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F37F3403-5329-4785-8644-DEA2BBBC78A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896D6C5-1818-EE46-BC2E-2EB5D51952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260000"/>
            <a:ext cx="5400000" cy="4104000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39C7963-93F6-3C4E-8554-C1DB9E01CD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0000" y="1260000"/>
            <a:ext cx="5400000" cy="4104000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D853B77-D0ED-5E42-8937-A010E9A288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5145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81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AAAA88FF-220D-4AB3-8B0B-A6CD876FFE5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FF182B43-455B-4FEE-A520-1F6EAE41101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D5B65EE-5102-41C9-B44A-138C2047366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2CAD367-C7CD-7F4E-8AE4-1B9579E3A2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260000"/>
            <a:ext cx="5400000" cy="4104000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477D866E-2E81-AB4C-9A05-F09D4751D4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0000" y="1260000"/>
            <a:ext cx="5400000" cy="4104000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9EF25C3-C469-4A4F-8D0F-1D7FB7AEA8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4521330D-F5C7-554D-8E32-F75B8231D9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026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81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800" y="1260000"/>
            <a:ext cx="5400000" cy="648000"/>
          </a:xfrm>
        </p:spPr>
        <p:txBody>
          <a:bodyPr/>
          <a:lstStyle>
            <a:lvl1pPr marL="751" indent="0">
              <a:buNone/>
              <a:defRPr sz="1867" b="1">
                <a:solidFill>
                  <a:schemeClr val="bg2"/>
                </a:solidFill>
              </a:defRPr>
            </a:lvl1pPr>
            <a:lvl2pPr marL="268531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802" y="2052000"/>
            <a:ext cx="5399583" cy="3888000"/>
          </a:xfrm>
        </p:spPr>
        <p:txBody>
          <a:bodyPr/>
          <a:lstStyle>
            <a:lvl1pPr marL="751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60000" y="1260000"/>
            <a:ext cx="5400000" cy="648000"/>
          </a:xfrm>
        </p:spPr>
        <p:txBody>
          <a:bodyPr/>
          <a:lstStyle>
            <a:lvl1pPr marL="751" indent="0">
              <a:buNone/>
              <a:defRPr sz="1867" b="1">
                <a:solidFill>
                  <a:schemeClr val="bg2"/>
                </a:solidFill>
              </a:defRPr>
            </a:lvl1pPr>
            <a:lvl2pPr marL="268531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60419" y="2052000"/>
            <a:ext cx="5399583" cy="3888000"/>
          </a:xfrm>
        </p:spPr>
        <p:txBody>
          <a:bodyPr/>
          <a:lstStyle>
            <a:lvl1pPr marL="751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59B239F7-4580-4877-A474-73AB5A8C1A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D2198827-0937-46D7-814E-35835DBBB39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F4DA6BB4-B5F8-4CFD-A8CC-C91F91FD62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982340-1903-2B4A-9E4E-2021DF377C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5209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81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63084" y="440693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427609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801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800" y="1260000"/>
            <a:ext cx="5400000" cy="648000"/>
          </a:xfrm>
        </p:spPr>
        <p:txBody>
          <a:bodyPr/>
          <a:lstStyle>
            <a:lvl1pPr marL="751" indent="0">
              <a:buNone/>
              <a:defRPr sz="1867" b="1">
                <a:solidFill>
                  <a:schemeClr val="tx2"/>
                </a:solidFill>
              </a:defRPr>
            </a:lvl1pPr>
            <a:lvl2pPr marL="268531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802" y="2052000"/>
            <a:ext cx="5399583" cy="3888000"/>
          </a:xfrm>
        </p:spPr>
        <p:txBody>
          <a:bodyPr/>
          <a:lstStyle>
            <a:lvl1pPr marL="751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60000" y="1260000"/>
            <a:ext cx="5400000" cy="648000"/>
          </a:xfrm>
        </p:spPr>
        <p:txBody>
          <a:bodyPr/>
          <a:lstStyle>
            <a:lvl1pPr marL="751" indent="0">
              <a:buNone/>
              <a:defRPr sz="1867" b="1">
                <a:solidFill>
                  <a:schemeClr val="tx2"/>
                </a:solidFill>
              </a:defRPr>
            </a:lvl1pPr>
            <a:lvl2pPr marL="268531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60419" y="2052000"/>
            <a:ext cx="5399583" cy="3888000"/>
          </a:xfrm>
        </p:spPr>
        <p:txBody>
          <a:bodyPr/>
          <a:lstStyle>
            <a:lvl1pPr marL="751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0269937-71BB-431E-9FD6-143D300E3E8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54D18F0B-AD1B-4280-9391-E43F6EE6E2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F61CD0A1-F5EF-454F-91DF-8A01F4A3E7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1F8FFF5C-1BC2-8D4B-85B4-42B048AB0E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39576AB-B6C8-0848-97E2-44017EC4E3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349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11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60000" y="1260000"/>
            <a:ext cx="5400000" cy="648000"/>
          </a:xfrm>
        </p:spPr>
        <p:txBody>
          <a:bodyPr/>
          <a:lstStyle>
            <a:lvl1pPr marL="751" indent="0">
              <a:buNone/>
              <a:defRPr sz="1867" b="1">
                <a:solidFill>
                  <a:schemeClr val="bg2"/>
                </a:solidFill>
              </a:defRPr>
            </a:lvl1pPr>
            <a:lvl2pPr marL="268531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60419" y="2052000"/>
            <a:ext cx="5399583" cy="3888000"/>
          </a:xfrm>
        </p:spPr>
        <p:txBody>
          <a:bodyPr/>
          <a:lstStyle>
            <a:lvl1pPr marL="751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0C06F53-3CC1-4031-A3A6-25EFE8BFF45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7988" y="1260000"/>
            <a:ext cx="5400000" cy="4680000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DE3679C8-D7F6-42B6-A820-69300FFA830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C89FDE3E-96D4-4AD1-9713-69A9346A808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849DF84-F6E7-4FC4-BE68-958DE9AB19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09E86CD-F177-9C47-B9E0-ED1CACFA1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1616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11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60000" y="1260000"/>
            <a:ext cx="5400000" cy="648000"/>
          </a:xfrm>
        </p:spPr>
        <p:txBody>
          <a:bodyPr/>
          <a:lstStyle>
            <a:lvl1pPr marL="751" indent="0">
              <a:buNone/>
              <a:defRPr sz="1867" b="1">
                <a:solidFill>
                  <a:schemeClr val="tx2"/>
                </a:solidFill>
              </a:defRPr>
            </a:lvl1pPr>
            <a:lvl2pPr marL="268531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60419" y="2052000"/>
            <a:ext cx="5399583" cy="3888000"/>
          </a:xfrm>
        </p:spPr>
        <p:txBody>
          <a:bodyPr/>
          <a:lstStyle>
            <a:lvl1pPr marL="751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B9A679CA-26BE-4AEB-AE86-9549F8207E2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D92FE2F2-12F1-48D8-B264-6B2C7808A9F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676097A1-4426-4925-8ED0-37212128E6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499720-C445-D94C-A2E8-033061F5E06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7988" y="1260000"/>
            <a:ext cx="5400000" cy="4680000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C93D6FB-A976-0D42-A7E1-B7FC0FEC77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46ECE55-60D8-1D42-B1F2-A7147B7F66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645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11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360000" y="1260000"/>
            <a:ext cx="5400000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800" y="1260000"/>
            <a:ext cx="5400000" cy="648000"/>
          </a:xfrm>
        </p:spPr>
        <p:txBody>
          <a:bodyPr/>
          <a:lstStyle>
            <a:lvl1pPr marL="751" indent="0">
              <a:buNone/>
              <a:defRPr sz="1867" b="1">
                <a:solidFill>
                  <a:schemeClr val="bg2"/>
                </a:solidFill>
              </a:defRPr>
            </a:lvl1pPr>
            <a:lvl2pPr marL="268531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802" y="2052000"/>
            <a:ext cx="5399583" cy="3312000"/>
          </a:xfrm>
        </p:spPr>
        <p:txBody>
          <a:bodyPr/>
          <a:lstStyle>
            <a:lvl1pPr marL="751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9" y="5508000"/>
            <a:ext cx="11352012" cy="414000"/>
          </a:xfrm>
          <a:solidFill>
            <a:schemeClr val="accent6"/>
          </a:solidFill>
        </p:spPr>
        <p:txBody>
          <a:bodyPr lIns="90000" rIns="90000" anchor="ctr"/>
          <a:lstStyle>
            <a:lvl1pPr marL="751" indent="0">
              <a:buNone/>
              <a:defRPr sz="1600" b="1">
                <a:solidFill>
                  <a:schemeClr val="tx1"/>
                </a:solidFill>
              </a:defRPr>
            </a:lvl1pPr>
            <a:lvl2pPr marL="268531" indent="0">
              <a:buNone/>
              <a:defRPr sz="1600" b="1">
                <a:solidFill>
                  <a:schemeClr val="bg1"/>
                </a:solidFill>
              </a:defRPr>
            </a:lvl2pPr>
            <a:lvl3pPr marL="544498" indent="0">
              <a:buNone/>
              <a:defRPr sz="1600" b="1">
                <a:solidFill>
                  <a:schemeClr val="bg1"/>
                </a:solidFill>
              </a:defRPr>
            </a:lvl3pPr>
            <a:lvl4pPr marL="811193" indent="0">
              <a:buNone/>
              <a:defRPr sz="1600" b="1">
                <a:solidFill>
                  <a:schemeClr val="bg1"/>
                </a:solidFill>
              </a:defRPr>
            </a:lvl4pPr>
            <a:lvl5pPr marL="1082648" indent="0"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899AAB31-0C28-4F5C-8211-6792AD6BAEB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73E5C5B2-229A-4AE8-80AE-98482FD2930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D79415E-1EEA-4ABA-9894-961154D561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261DD9-017C-BC45-B9E9-4A289EB4EE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6942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pos="5567">
          <p15:clr>
            <a:srgbClr val="FBAE40"/>
          </p15:clr>
        </p15:guide>
        <p15:guide id="4" orient="horz" pos="253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360000" y="1260000"/>
            <a:ext cx="5400000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260000"/>
            <a:ext cx="5400000" cy="648000"/>
          </a:xfrm>
        </p:spPr>
        <p:txBody>
          <a:bodyPr/>
          <a:lstStyle>
            <a:lvl1pPr marL="751" indent="0">
              <a:buNone/>
              <a:defRPr sz="1867" b="1">
                <a:solidFill>
                  <a:schemeClr val="tx2"/>
                </a:solidFill>
              </a:defRPr>
            </a:lvl1pPr>
            <a:lvl2pPr marL="268531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8407" y="2052000"/>
            <a:ext cx="5399583" cy="3312000"/>
          </a:xfrm>
        </p:spPr>
        <p:txBody>
          <a:bodyPr/>
          <a:lstStyle>
            <a:lvl1pPr marL="751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9" y="5508000"/>
            <a:ext cx="11352012" cy="414000"/>
          </a:xfrm>
          <a:solidFill>
            <a:schemeClr val="accent6"/>
          </a:solidFill>
        </p:spPr>
        <p:txBody>
          <a:bodyPr lIns="90000" rIns="90000" anchor="ctr"/>
          <a:lstStyle>
            <a:lvl1pPr marL="751" indent="0">
              <a:buNone/>
              <a:defRPr sz="1600" b="1">
                <a:solidFill>
                  <a:schemeClr val="tx1"/>
                </a:solidFill>
              </a:defRPr>
            </a:lvl1pPr>
            <a:lvl2pPr marL="268531" indent="0">
              <a:buNone/>
              <a:defRPr sz="1600" b="1">
                <a:solidFill>
                  <a:schemeClr val="bg1"/>
                </a:solidFill>
              </a:defRPr>
            </a:lvl2pPr>
            <a:lvl3pPr marL="544498" indent="0">
              <a:buNone/>
              <a:defRPr sz="1600" b="1">
                <a:solidFill>
                  <a:schemeClr val="bg1"/>
                </a:solidFill>
              </a:defRPr>
            </a:lvl3pPr>
            <a:lvl4pPr marL="811193" indent="0">
              <a:buNone/>
              <a:defRPr sz="1600" b="1">
                <a:solidFill>
                  <a:schemeClr val="bg1"/>
                </a:solidFill>
              </a:defRPr>
            </a:lvl4pPr>
            <a:lvl5pPr marL="1082648" indent="0"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373669A0-0EBD-4456-867A-A9328E82891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01D65FF6-D640-4BF1-BF72-8E43AE10D45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E6EF7406-C576-4848-97C7-AAA7FC1757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C582A0E-9430-634A-9419-DFBA800AEC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A29E133-93B4-2F44-87CD-5B71EE62D0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307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39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7989" y="2988000"/>
            <a:ext cx="11352012" cy="2988000"/>
          </a:xfrm>
        </p:spPr>
        <p:txBody>
          <a:bodyPr/>
          <a:lstStyle>
            <a:lvl1pPr marL="751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FD5AA67F-D774-4717-932C-F0B29822B9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FBA5458A-D52A-4182-9D4F-B733461BD03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B4092C3-EE46-4DDC-9B63-41F7B0856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A7F938-8874-D547-8D0E-7CDD13CA79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4934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07989" y="2988000"/>
            <a:ext cx="11352012" cy="2988000"/>
          </a:xfrm>
        </p:spPr>
        <p:txBody>
          <a:bodyPr/>
          <a:lstStyle>
            <a:lvl1pPr marL="751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284587B-1CDA-4876-A793-514BF8C6E91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A34C3E2D-DFBD-4199-9925-A48E0A0840B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853F276A-A474-4D15-B610-649F7439CF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D49E691-BB78-AD4F-9E18-1D3065F2A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2864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7989" y="2988000"/>
            <a:ext cx="11352012" cy="2988000"/>
          </a:xfrm>
        </p:spPr>
        <p:txBody>
          <a:bodyPr/>
          <a:lstStyle>
            <a:lvl1pPr marL="751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C864E540-FF59-4025-8314-E98F695F93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A6C897A3-6BB6-4DE3-A141-15C36C89E8F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1B1DC07-E33B-4ABF-8144-061A20796F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988E372-5EE9-7642-AB53-E7282EA4FF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DCA48CE-0CC7-7246-AC4A-F253A445FC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30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07989" y="2988000"/>
            <a:ext cx="11352012" cy="2988000"/>
          </a:xfrm>
        </p:spPr>
        <p:txBody>
          <a:bodyPr/>
          <a:lstStyle>
            <a:lvl1pPr marL="751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31D130F5-5749-41B7-83E7-606999E8164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DEA80CA-6343-47F9-8111-C0231C91CB7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B6BF80E-F726-4844-9E12-485EE1B551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5062487-7D01-E446-ABAA-916EA77702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D7CC6F3-F341-3943-BBB4-4F6FB87458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561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2828">
          <p15:clr>
            <a:srgbClr val="FBAE40"/>
          </p15:clr>
        </p15:guide>
        <p15:guide id="4" orient="horz" pos="59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07989" y="1800000"/>
            <a:ext cx="11352012" cy="3816000"/>
          </a:xfrm>
        </p:spPr>
        <p:txBody>
          <a:bodyPr/>
          <a:lstStyle>
            <a:lvl1pPr marL="751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9" y="1260000"/>
            <a:ext cx="11352012" cy="324000"/>
          </a:xfrm>
        </p:spPr>
        <p:txBody>
          <a:bodyPr/>
          <a:lstStyle>
            <a:lvl1pPr marL="751" indent="0">
              <a:buNone/>
              <a:defRPr sz="1333"/>
            </a:lvl1pPr>
            <a:lvl2pPr marL="268531" indent="0">
              <a:buNone/>
              <a:defRPr/>
            </a:lvl2pPr>
            <a:lvl3pPr marL="544498" indent="0">
              <a:buNone/>
              <a:defRPr/>
            </a:lvl3pPr>
            <a:lvl4pPr marL="811193" indent="0">
              <a:buNone/>
              <a:defRPr/>
            </a:lvl4pPr>
            <a:lvl5pPr marL="108264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5688000"/>
            <a:ext cx="9388800" cy="360000"/>
          </a:xfrm>
        </p:spPr>
        <p:txBody>
          <a:bodyPr/>
          <a:lstStyle>
            <a:lvl1pPr marL="751" indent="0">
              <a:buNone/>
              <a:defRPr sz="800"/>
            </a:lvl1pPr>
            <a:lvl2pPr marL="268531" indent="0">
              <a:buNone/>
              <a:defRPr sz="800"/>
            </a:lvl2pPr>
            <a:lvl3pPr marL="544498" indent="0">
              <a:buNone/>
              <a:defRPr sz="800"/>
            </a:lvl3pPr>
            <a:lvl4pPr marL="811193" indent="0">
              <a:buNone/>
              <a:defRPr sz="800"/>
            </a:lvl4pPr>
            <a:lvl5pPr marL="1082648" indent="0">
              <a:buNone/>
              <a:defRPr sz="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0F33A73F-A895-4C94-95A9-FA03D023DC8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3854CEC-8BEC-4939-A1B8-8CF31401923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89176665-5609-4739-99EF-C6DD9E6EEB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2714CB-08FE-0E43-B4B6-AF59CE0D60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6326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51">
          <p15:clr>
            <a:srgbClr val="FBAE40"/>
          </p15:clr>
        </p15:guide>
        <p15:guide id="3" orient="horz" pos="583">
          <p15:clr>
            <a:srgbClr val="FBAE40"/>
          </p15:clr>
        </p15:guide>
        <p15:guide id="4" orient="horz" pos="265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586318" y="1306513"/>
            <a:ext cx="5389033" cy="4768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178557" y="1306513"/>
            <a:ext cx="5389033" cy="4768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100624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07989" y="1800000"/>
            <a:ext cx="11352012" cy="3816000"/>
          </a:xfrm>
        </p:spPr>
        <p:txBody>
          <a:bodyPr/>
          <a:lstStyle>
            <a:lvl1pPr marL="751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9" y="1260000"/>
            <a:ext cx="11352012" cy="324000"/>
          </a:xfrm>
        </p:spPr>
        <p:txBody>
          <a:bodyPr/>
          <a:lstStyle>
            <a:lvl1pPr marL="751" indent="0">
              <a:buNone/>
              <a:defRPr sz="1333"/>
            </a:lvl1pPr>
            <a:lvl2pPr marL="268531" indent="0">
              <a:buNone/>
              <a:defRPr/>
            </a:lvl2pPr>
            <a:lvl3pPr marL="544498" indent="0">
              <a:buNone/>
              <a:defRPr/>
            </a:lvl3pPr>
            <a:lvl4pPr marL="811193" indent="0">
              <a:buNone/>
              <a:defRPr/>
            </a:lvl4pPr>
            <a:lvl5pPr marL="108264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5688000"/>
            <a:ext cx="9388800" cy="360000"/>
          </a:xfrm>
        </p:spPr>
        <p:txBody>
          <a:bodyPr/>
          <a:lstStyle>
            <a:lvl1pPr marL="751" indent="0">
              <a:buNone/>
              <a:defRPr sz="800"/>
            </a:lvl1pPr>
            <a:lvl2pPr marL="268531" indent="0">
              <a:buNone/>
              <a:defRPr sz="800"/>
            </a:lvl2pPr>
            <a:lvl3pPr marL="544498" indent="0">
              <a:buNone/>
              <a:defRPr sz="800"/>
            </a:lvl3pPr>
            <a:lvl4pPr marL="811193" indent="0">
              <a:buNone/>
              <a:defRPr sz="800"/>
            </a:lvl4pPr>
            <a:lvl5pPr marL="1082648" indent="0">
              <a:buNone/>
              <a:defRPr sz="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81CF5AC5-B762-40BA-8D84-8B53B1913B7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19275034-B9ED-4823-909A-12B30A9F76D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88FE6AD-0E6A-4DFF-968C-8FA51A583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CE05C8B-8078-CA41-9702-0441C6AE5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582F237-FB01-4B47-8BC9-C65B951971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4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657">
          <p15:clr>
            <a:srgbClr val="FBAE40"/>
          </p15:clr>
        </p15:guide>
        <p15:guide id="3" pos="5567">
          <p15:clr>
            <a:srgbClr val="FBAE40"/>
          </p15:clr>
        </p15:guide>
        <p15:guide id="4" pos="19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08407" y="1260475"/>
            <a:ext cx="11375607" cy="4356100"/>
          </a:xfrm>
        </p:spPr>
        <p:txBody>
          <a:bodyPr/>
          <a:lstStyle>
            <a:lvl1pPr marL="751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5688000"/>
            <a:ext cx="9388800" cy="360000"/>
          </a:xfrm>
        </p:spPr>
        <p:txBody>
          <a:bodyPr/>
          <a:lstStyle>
            <a:lvl1pPr marL="751" indent="0">
              <a:buNone/>
              <a:defRPr sz="800"/>
            </a:lvl1pPr>
            <a:lvl2pPr marL="268531" indent="0">
              <a:buNone/>
              <a:defRPr sz="800"/>
            </a:lvl2pPr>
            <a:lvl3pPr marL="544498" indent="0">
              <a:buNone/>
              <a:defRPr sz="800"/>
            </a:lvl3pPr>
            <a:lvl4pPr marL="811193" indent="0">
              <a:buNone/>
              <a:defRPr sz="800"/>
            </a:lvl4pPr>
            <a:lvl5pPr marL="1082648" indent="0">
              <a:buNone/>
              <a:defRPr sz="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A0C41700-2D2A-45F9-9EDA-9C15BE259D2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F9146766-47FE-4CE2-AE7C-090A18DDE4A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0BDAAD77-6F4E-44AE-B736-747FA11E60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036206-DB40-0946-90A7-F57B72D47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817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657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07988" y="1260475"/>
            <a:ext cx="11352213" cy="4356100"/>
          </a:xfrm>
        </p:spPr>
        <p:txBody>
          <a:bodyPr/>
          <a:lstStyle>
            <a:lvl1pPr marL="751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565" y="360000"/>
            <a:ext cx="11352435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5688000"/>
            <a:ext cx="9388800" cy="360000"/>
          </a:xfrm>
        </p:spPr>
        <p:txBody>
          <a:bodyPr/>
          <a:lstStyle>
            <a:lvl1pPr marL="751" indent="0">
              <a:buNone/>
              <a:defRPr sz="800"/>
            </a:lvl1pPr>
            <a:lvl2pPr marL="268531" indent="0">
              <a:buNone/>
              <a:defRPr sz="800"/>
            </a:lvl2pPr>
            <a:lvl3pPr marL="544498" indent="0">
              <a:buNone/>
              <a:defRPr sz="800"/>
            </a:lvl3pPr>
            <a:lvl4pPr marL="811193" indent="0">
              <a:buNone/>
              <a:defRPr sz="800"/>
            </a:lvl4pPr>
            <a:lvl5pPr marL="1082648" indent="0">
              <a:buNone/>
              <a:defRPr sz="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EC811AB3-08A2-42D8-BAD1-10F430F806C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101D9CA6-E7A6-4F8E-BCDC-92FD8C517F8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51CFB748-A719-4D85-A6DD-3352DA8AD6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4FCE512-B788-2743-B24C-33F98E72A0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0632BB2-6CFF-5A4D-A38F-68125D8B47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460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orient="horz" pos="599">
          <p15:clr>
            <a:srgbClr val="FBAE40"/>
          </p15:clr>
        </p15:guide>
        <p15:guide id="3" orient="horz" pos="2657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7988" y="2988000"/>
            <a:ext cx="5400000" cy="2988000"/>
          </a:xfrm>
        </p:spPr>
        <p:txBody>
          <a:bodyPr/>
          <a:lstStyle>
            <a:lvl1pPr marL="751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60000" y="2988000"/>
            <a:ext cx="5400000" cy="2988000"/>
          </a:xfrm>
        </p:spPr>
        <p:txBody>
          <a:bodyPr/>
          <a:lstStyle>
            <a:lvl1pPr marL="751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D34DC55-E80B-49CF-A9E7-E92A3344AB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F817B644-46E0-4874-8B2A-29A19663A0D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DF727A25-77B3-467E-80AA-72599073E3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8FB3978-8071-6A4A-BCD0-E327E9870B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6998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pos="193">
          <p15:clr>
            <a:srgbClr val="FBAE40"/>
          </p15:clr>
        </p15:guide>
        <p15:guide id="3" orient="horz" pos="2828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07988" y="2988000"/>
            <a:ext cx="5400000" cy="2988000"/>
          </a:xfrm>
        </p:spPr>
        <p:txBody>
          <a:bodyPr/>
          <a:lstStyle>
            <a:lvl1pPr marL="751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60000" y="2988000"/>
            <a:ext cx="5400000" cy="2988000"/>
          </a:xfrm>
        </p:spPr>
        <p:txBody>
          <a:bodyPr/>
          <a:lstStyle>
            <a:lvl1pPr marL="751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2C232D2C-F4B9-45D5-AD68-A4F18419188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96571FD5-A86C-4B93-BC84-347668B986A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BBF4B1A-5C5F-4934-A0FE-ABF3029C3B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1A61384-CC6B-8D49-862E-AFC7F823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5104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7988" y="2988000"/>
            <a:ext cx="5400000" cy="2988000"/>
          </a:xfrm>
        </p:spPr>
        <p:txBody>
          <a:bodyPr/>
          <a:lstStyle>
            <a:lvl1pPr marL="751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60000" y="2988000"/>
            <a:ext cx="5400000" cy="2988000"/>
          </a:xfrm>
        </p:spPr>
        <p:txBody>
          <a:bodyPr/>
          <a:lstStyle>
            <a:lvl1pPr marL="751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7FD265D2-2064-42AD-838B-312D03F08D0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7EE3BA67-9DF6-413F-A0AA-4A4C9D1C000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3BE80059-ABCE-424A-BF38-C05EF8156A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64D043F-8789-0248-A98A-F359DBA723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EF6FA21-336A-F647-B102-51992C59DF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193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>
          <p15:clr>
            <a:srgbClr val="FBAE40"/>
          </p15:clr>
        </p15:guide>
        <p15:guide id="2" orient="horz" pos="2828">
          <p15:clr>
            <a:srgbClr val="FBAE40"/>
          </p15:clr>
        </p15:guide>
        <p15:guide id="3" pos="193">
          <p15:clr>
            <a:srgbClr val="FBAE40"/>
          </p15:clr>
        </p15:guide>
        <p15:guide id="4" pos="556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07988" y="2988000"/>
            <a:ext cx="5400000" cy="2988000"/>
          </a:xfrm>
        </p:spPr>
        <p:txBody>
          <a:bodyPr/>
          <a:lstStyle>
            <a:lvl1pPr marL="751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60000" y="2988000"/>
            <a:ext cx="5400000" cy="2988000"/>
          </a:xfrm>
        </p:spPr>
        <p:txBody>
          <a:bodyPr/>
          <a:lstStyle>
            <a:lvl1pPr marL="751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4C3CA4E-7F21-304D-9F4A-8B07248A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7F40858-2CD7-FE45-A2F8-0FDCC2F29C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12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82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44E4E7-45AA-3E4A-95AB-894672A419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518" y="2989384"/>
            <a:ext cx="5399471" cy="29866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6415DFC-9328-B14E-A285-03ABEF15552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60584" y="2989382"/>
            <a:ext cx="5399616" cy="29866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90044A0-A316-E247-A000-7A157FEF2E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7099E3C-EACD-DE47-9BC7-99AC4CB611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914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82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EF3E35-7BAC-4DAC-BF73-B39646774A9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E0521D8-6A60-4405-94E6-87B45B43D5AB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4F3790A2-3ED4-476F-AF15-FF864ED228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A1B33D0-BDFD-A646-8606-99083F58B0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4455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82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9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0D8D745-A917-4544-B52C-C167B938FC8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18736158-736B-4C99-AE3E-5DE67DF6BB4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5B403315-6CB3-4D1B-932F-9111D4E0A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7EA66CC-1E16-FA43-950B-42C28BA0C1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1501E54-557F-9B4F-AA23-CC2DB54C46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152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>
          <p15:clr>
            <a:srgbClr val="FBAE40"/>
          </p15:clr>
        </p15:guide>
        <p15:guide id="2" pos="5567">
          <p15:clr>
            <a:srgbClr val="FBAE40"/>
          </p15:clr>
        </p15:guide>
        <p15:guide id="3" orient="horz" pos="599">
          <p15:clr>
            <a:srgbClr val="FBAE40"/>
          </p15:clr>
        </p15:guide>
        <p15:guide id="4" orient="horz" pos="282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24516628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C919A1E-AF03-4E65-AB90-7B16340F5AF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1D93099D-53F9-451B-BF59-BB728B4000D5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CD7FB87-9E67-43F8-AAED-2A70B27779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9/11/2023</a:t>
            </a:fld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20018B4-4626-1A4B-9344-746CC8AD38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3964351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249231" indent="0">
              <a:buNone/>
              <a:defRPr sz="600">
                <a:solidFill>
                  <a:schemeClr val="tx1"/>
                </a:solidFill>
              </a:defRPr>
            </a:lvl2pPr>
            <a:lvl3pPr marL="544498" indent="0">
              <a:buNone/>
              <a:defRPr sz="600">
                <a:solidFill>
                  <a:schemeClr val="tx1"/>
                </a:solidFill>
              </a:defRPr>
            </a:lvl3pPr>
            <a:lvl4pPr marL="811193" indent="0">
              <a:buNone/>
              <a:defRPr sz="600">
                <a:solidFill>
                  <a:schemeClr val="tx1"/>
                </a:solidFill>
              </a:defRPr>
            </a:lvl4pPr>
            <a:lvl5pPr marL="1082648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125F03B-012D-5B4A-BC3C-5084689584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49680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ítulo, text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84201" y="92077"/>
            <a:ext cx="9267092" cy="7921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sz="half" idx="1"/>
          </p:nvPr>
        </p:nvSpPr>
        <p:spPr>
          <a:xfrm>
            <a:off x="601785" y="1023939"/>
            <a:ext cx="5396523" cy="550703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185879" y="1023939"/>
            <a:ext cx="5396523" cy="5507037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7E053A-979A-42BB-8898-25FB6CE5C3D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0821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260000"/>
            <a:ext cx="11352012" cy="475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1D067FA-704F-4565-BD79-FEDF669F1EF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Nº›</a:t>
            </a:fld>
            <a:endParaRPr lang="en-GB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E393F749-AC7C-4FC3-8474-84925B26C13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CDF99922-1635-4F71-88B4-1E28F3F26A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29/11/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4917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3793">
          <p15:clr>
            <a:srgbClr val="FBAE40"/>
          </p15:clr>
        </p15:guide>
        <p15:guide id="4" pos="25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0261BE-D5C0-428B-B59F-0727FA5CB56D}" type="slidenum">
              <a:rPr lang="en-US" altLang="nl-BE" smtClean="0">
                <a:solidFill>
                  <a:srgbClr val="696969"/>
                </a:solidFill>
              </a:rPr>
              <a:pPr>
                <a:defRPr/>
              </a:pPr>
              <a:t>‹Nº›</a:t>
            </a:fld>
            <a:endParaRPr lang="en-US" altLang="nl-BE">
              <a:solidFill>
                <a:srgbClr val="6969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2318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E1EAB73-66A1-417B-98E2-26475F1DB7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EA6B02F-9D72-433D-8885-B19C80A6DB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767520E-8505-4371-8659-507DC1B3B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C2D21-15BE-4262-8A01-FE91E45A631A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FD6341A-ACAA-4037-87D8-4C49F6BDD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E3D4C6A-43C0-4C70-8766-42C19407C3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2F69-C48D-48AD-BDD3-CDC3C9CFF5E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8006971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3316A66-1188-4BF2-9574-62012879A1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10E3003-A546-4855-9C5A-0176904A36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B38DE52-2AB0-432B-A580-E71D699754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C2D21-15BE-4262-8A01-FE91E45A631A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3DE1B78-2D5F-44C4-8B7D-CFB65C1BC2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EFAA93B-6178-45BB-9BDD-7AB730371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2F69-C48D-48AD-BDD3-CDC3C9CFF5E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797827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A2EF2FB-0323-4CBD-B34D-63978B9DB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22A87DA-8ED5-4452-AF18-A84FB8DD56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62688F9-4F86-46E2-A176-C9AEE8E58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C2D21-15BE-4262-8A01-FE91E45A631A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B11097E-F80F-4241-8BEB-5C50BA91E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62044B7-8C1C-4CF6-B3D8-49F8A5CABA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2F69-C48D-48AD-BDD3-CDC3C9CFF5E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275721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9B0692-FC54-4B5E-A86F-D8C0CD9081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9EF8811-0246-45F8-9506-E4413216CB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C11058D-A970-4D50-BC0E-0115469235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43054D1F-97C3-4747-809A-017F71BE5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C2D21-15BE-4262-8A01-FE91E45A631A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B41317A-C392-4A30-9A00-A994DF69FE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D0D6B99-6442-4CE6-9278-576067A80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2F69-C48D-48AD-BDD3-CDC3C9CFF5E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2887716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C3B3BDF-FAEE-488F-8A7A-740C8A1D4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FD9DCA3-56FE-4186-B599-706CE46084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74AF40C-E975-4BB2-BBB9-E9985FCD09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85344F-7DF7-4AF7-8A2E-A02DCFA28A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B65B46B6-68EA-4A41-BE49-F6D057470B7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CD651F10-FBFE-485C-88BB-F4694028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C2D21-15BE-4262-8A01-FE91E45A631A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948D8F63-EB3F-4F00-9243-691F5E1E84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DC8C7DE5-1067-44D3-B9A7-205EFE114D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2F69-C48D-48AD-BDD3-CDC3C9CFF5E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283948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AFD05B-A9FD-4758-AB6A-E1512FF77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F40EC83-2495-4CE0-9532-E2BE957A0D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C2D21-15BE-4262-8A01-FE91E45A631A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1A01110-EC18-4B0F-B49E-29E4D08CE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0D349B7-6E5A-43B9-B018-31BBA9ED2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2F69-C48D-48AD-BDD3-CDC3C9CFF5E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370964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38345436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CD3CCEE-DA5F-42D2-9FBD-789B3BF00D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C2D21-15BE-4262-8A01-FE91E45A631A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7F26993B-B995-4FD6-8B5F-A1025298D0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43B73C5-10F8-4130-AFCD-2153BC064E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2F69-C48D-48AD-BDD3-CDC3C9CFF5E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888747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DE2AD77-9473-44F9-A32B-2BA66901D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3C78C44-E996-43CD-9127-8C50D20CB0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E330857-459C-499F-9FAD-2E31F6D334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A6529C3-5B65-4226-A9A5-C2BA316226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C2D21-15BE-4262-8A01-FE91E45A631A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6BE795C-36B9-404B-BE57-17524CA1B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D071B09C-7F6F-4C09-96C9-742C7CFA2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2F69-C48D-48AD-BDD3-CDC3C9CFF5E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574971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FEB33FE-6540-4159-BD8E-435CB06211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5B27C97B-55C9-490F-9AEC-C31418E3B30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B1B7886-460D-4AA2-ADE4-139FC988D2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FEACCA3-DA9E-46FF-8EF9-E37AFE6E2B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C2D21-15BE-4262-8A01-FE91E45A631A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E9D3D1C-23BB-4EAD-8F9D-C653B64580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FE55B8B-1FAC-447F-9402-221769A45D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2F69-C48D-48AD-BDD3-CDC3C9CFF5E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7381042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CCC1EB7-A257-4057-87B0-24D0E2FEE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CE1748E-06CB-4F72-AB58-BCA87958A37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4DF23CE-58DB-474C-9FB6-AB633F198A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C2D21-15BE-4262-8A01-FE91E45A631A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72B505D-8F32-4E7D-8537-5358BC016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E18E81D-47FC-4B21-ADBD-E2CB9D931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2F69-C48D-48AD-BDD3-CDC3C9CFF5E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715545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4840BC8-6A7F-40F6-9B6E-D0E6E45140F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6E878B2E-25DB-4ABC-9C05-E15E7D0A3D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F36167A-1634-41BB-9FB5-F5F34B2E2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C2D21-15BE-4262-8A01-FE91E45A631A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98EA72-C453-4522-B6A1-8C7D94A06C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B5AC6F6-C6F3-4CFA-8DBA-B258A9311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2F69-C48D-48AD-BDD3-CDC3C9CFF5E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8328969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C0B171-051F-44F3-9C98-E15A47EE01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9A79ACE-30E1-4059-9BD8-9FB355A252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48F7026-134C-456C-931B-7F8AB62255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2184B-7A42-47AA-9685-353EE8F8284B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23AA432-A452-469B-914D-5996BF7E63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CCA4507-BB70-44F9-AEFD-2B5CDB683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F26CF-8CE5-41D7-8B93-43766A39A5F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9665189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9A1C5-B4AD-4048-B8E7-9EA4F6C618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7F4253E-3AB2-4A85-BD8F-DFA3F6A507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7853C3D-0000-4307-A292-9DEDDE83B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2184B-7A42-47AA-9685-353EE8F8284B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3172132-87D0-44E1-8E5F-54CA130F5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D1492BC-6F13-4FA3-8713-0DF6D5DE58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F26CF-8CE5-41D7-8B93-43766A39A5F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3705399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A1D87E4-7AFD-4370-B9ED-1689FA5A6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B0BC10B-D01C-4F21-B311-D21BECC371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A9FA32F-1455-4278-BC10-C7ECE03829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2184B-7A42-47AA-9685-353EE8F8284B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17DDD51-E647-443F-859B-3BF33FB9E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E84B983-9A95-45CA-9B3F-A53955C275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F26CF-8CE5-41D7-8B93-43766A39A5F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644448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E82529E-39D0-49AD-B3C1-8EB799637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6510094-AB18-47D2-B788-9668A82F715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5CB79A27-7812-4663-882D-CEF7ACE3CE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9BBA64B-F637-409A-9B5A-F9673E8304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2184B-7A42-47AA-9685-353EE8F8284B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499B332-2E8D-4668-BBE4-F3CAF06D9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86CC2D8-6D0F-431A-83AA-E7AD346514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F26CF-8CE5-41D7-8B93-43766A39A5F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3494974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2B5A421-C41E-44D7-B10B-40CC7FBED2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464E4F2-3FCE-4495-B318-CFFB6F27CF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E3214F6-A7EA-40A5-9C50-1194B65458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FF76F90-3815-4666-8DA7-E422241EBD3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B1D38520-D00A-469D-BEF4-9A3FA566B9A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308147E5-0654-4D72-BACB-D7AEB6AF22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2184B-7A42-47AA-9685-353EE8F8284B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B9186ADB-60DD-43F3-9121-67F6B8F12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FD6C9224-AA88-4397-B83E-BC134BF6C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F26CF-8CE5-41D7-8B93-43766A39A5F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28098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34203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C90D902-2CA8-4DB6-B665-EBFC9BE5E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F99718C5-D3FE-4975-A965-9F7884E65D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2184B-7A42-47AA-9685-353EE8F8284B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BCCA244-68E4-43A8-B786-65FA39C907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6F62FA0-30F7-4270-9488-5CFDD8942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F26CF-8CE5-41D7-8B93-43766A39A5F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6918676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C8D87E8F-C623-4A45-8176-A8417130FB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2184B-7A42-47AA-9685-353EE8F8284B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97D6AAB8-E4D0-4CB0-AF8B-12F6013E24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A6574A4-1095-4A4C-9072-D6372CC0C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F26CF-8CE5-41D7-8B93-43766A39A5F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1724155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4F2E176-0FA3-4591-8ED9-2A1DEBBC69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95E46E3-7968-4584-A751-09B50A0016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EC09AAE-92CA-4105-9154-4E5CD8D64AA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2FA14C1-EC8A-4D3F-A890-92D726330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2184B-7A42-47AA-9685-353EE8F8284B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2CDC913-8CF4-4D1C-8B1C-0492B3D0B7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0ECA5F84-24D4-4410-8178-5CCDA6D84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F26CF-8CE5-41D7-8B93-43766A39A5F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8403762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A448DF9-A7CD-4598-B204-DF14D41048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2F57C3B-E2A9-44AE-B349-80CED27943D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A0A449F-5083-4A6D-9768-74EF912CCD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AD9EA0D-0DDD-46BC-8E0C-D89836748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2184B-7A42-47AA-9685-353EE8F8284B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AE4C8AD-9419-4097-B2AF-042AF5653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624ECF1-DD7C-4FA9-BB11-3D6ECFC51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F26CF-8CE5-41D7-8B93-43766A39A5F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134104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E86A774-AE73-404D-AF66-2DFB98100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C82A44A1-73B3-4F9B-A7A0-60345D5D8F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5067CFC-37B5-4869-BC2F-787652AE34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2184B-7A42-47AA-9685-353EE8F8284B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7C35890-5649-48D7-9373-3A11CB4018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179F940-36CF-44C2-845C-E89F667A9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F26CF-8CE5-41D7-8B93-43766A39A5F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0140374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CADEA2FE-3D97-48F0-85E2-9EA81BB973A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73EA020-0FF9-4CB1-B6D5-B5243C2FCA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2F3CD65-8B8B-4AC1-B537-F241CCFE82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2184B-7A42-47AA-9685-353EE8F8284B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CD35276-0D86-4169-94C1-DB3A4DE69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C9DC6C-7C65-4E11-B79D-BF1E55226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F26CF-8CE5-41D7-8B93-43766A39A5F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420578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6735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986160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972280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2.xml"/><Relationship Id="rId12" Type="http://schemas.openxmlformats.org/officeDocument/2006/relationships/image" Target="../media/image5.jpe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19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9" Type="http://schemas.openxmlformats.org/officeDocument/2006/relationships/image" Target="../media/image9.svg"/><Relationship Id="rId21" Type="http://schemas.openxmlformats.org/officeDocument/2006/relationships/slideLayout" Target="../slideLayouts/slideLayout41.xml"/><Relationship Id="rId34" Type="http://schemas.openxmlformats.org/officeDocument/2006/relationships/theme" Target="../theme/theme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slideLayout" Target="../slideLayouts/slideLayout53.xml"/><Relationship Id="rId38" Type="http://schemas.openxmlformats.org/officeDocument/2006/relationships/image" Target="../media/image8.png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slideLayout" Target="../slideLayouts/slideLayout52.xml"/><Relationship Id="rId37" Type="http://schemas.openxmlformats.org/officeDocument/2006/relationships/image" Target="../media/image4.emf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36" Type="http://schemas.openxmlformats.org/officeDocument/2006/relationships/oleObject" Target="../embeddings/oleObject4.bin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slideLayout" Target="../slideLayouts/slideLayout51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slideLayout" Target="../slideLayouts/slideLayout50.xml"/><Relationship Id="rId35" Type="http://schemas.openxmlformats.org/officeDocument/2006/relationships/tags" Target="../tags/tag6.xml"/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270" imgH="270" progId="TCLayout.ActiveDocument.1">
                  <p:embed/>
                </p:oleObj>
              </mc:Choice>
              <mc:Fallback>
                <p:oleObj name="Diapositiva de think-cell" r:id="rId18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D4ED0C3-A3EA-42E8-804F-C9C1B35C77AB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MS PGothic" pitchFamily="34" charset="-128"/>
              <a:sym typeface="Arial" panose="020B0604020202020204" pitchFamily="34" charset="0"/>
            </a:endParaRPr>
          </a:p>
        </p:txBody>
      </p:sp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4201" y="244476"/>
            <a:ext cx="9268884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6317" y="1306513"/>
            <a:ext cx="10981267" cy="476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22532" name="Picture 24" descr="am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80084" y="211138"/>
            <a:ext cx="1617133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 txBox="1">
            <a:spLocks noChangeArrowheads="1"/>
          </p:cNvSpPr>
          <p:nvPr userDrawn="1"/>
        </p:nvSpPr>
        <p:spPr bwMode="auto">
          <a:xfrm>
            <a:off x="10424585" y="6492876"/>
            <a:ext cx="12319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>
            <a:lvl1pPr algn="r">
              <a:defRPr sz="800" b="0" baseline="0">
                <a:solidFill>
                  <a:srgbClr val="000000"/>
                </a:solidFill>
              </a:defRPr>
            </a:lvl1pPr>
          </a:lstStyle>
          <a:p>
            <a:pPr eaLnBrk="0" hangingPunct="0">
              <a:defRPr/>
            </a:pPr>
            <a:fld id="{BEDF60E8-4136-466D-8135-4F98DA86A489}" type="slidenum">
              <a:rPr lang="en-GB" sz="800" smtClean="0">
                <a:ea typeface="MS PGothic" pitchFamily="34" charset="-128"/>
                <a:cs typeface="+mn-cs"/>
              </a:rPr>
              <a:pPr eaLnBrk="0" hangingPunct="0">
                <a:defRPr/>
              </a:pPr>
              <a:t>‹Nº›</a:t>
            </a:fld>
            <a:endParaRPr lang="en-GB" sz="800">
              <a:ea typeface="MS PGothic" pitchFamily="34" charset="-128"/>
              <a:cs typeface="+mn-cs"/>
            </a:endParaRPr>
          </a:p>
        </p:txBody>
      </p:sp>
      <p:sp>
        <p:nvSpPr>
          <p:cNvPr id="8" name="7 CuadroTexto"/>
          <p:cNvSpPr txBox="1"/>
          <p:nvPr userDrawn="1"/>
        </p:nvSpPr>
        <p:spPr>
          <a:xfrm>
            <a:off x="452968" y="6642100"/>
            <a:ext cx="10494433" cy="2159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sz="800">
                <a:solidFill>
                  <a:srgbClr val="696969"/>
                </a:solidFill>
                <a:ea typeface="MS PGothic" pitchFamily="34" charset="-128"/>
                <a:cs typeface="+mn-cs"/>
              </a:rPr>
              <a:t>- confidential -</a:t>
            </a:r>
          </a:p>
        </p:txBody>
      </p:sp>
    </p:spTree>
    <p:extLst>
      <p:ext uri="{BB962C8B-B14F-4D97-AF65-F5344CB8AC3E}">
        <p14:creationId xmlns:p14="http://schemas.microsoft.com/office/powerpoint/2010/main" val="2402318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+mj-ea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200">
          <a:solidFill>
            <a:schemeClr val="tx1"/>
          </a:solidFill>
          <a:latin typeface="+mn-lt"/>
          <a:ea typeface="+mn-ea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ea typeface="+mn-ea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chemeClr val="tx1"/>
          </a:solidFill>
          <a:latin typeface="+mn-lt"/>
          <a:ea typeface="+mn-ea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8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360" imgH="360" progId="TCLayout.ActiveDocument.1">
                  <p:embed/>
                </p:oleObj>
              </mc:Choice>
              <mc:Fallback>
                <p:oleObj name="Diapositiva de think-cell" r:id="rId10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8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A81EF300-C1C4-4CA1-B1BE-88360DB95885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>
              <a:ln>
                <a:noFill/>
              </a:ln>
              <a:solidFill>
                <a:srgbClr val="FAFFFF"/>
              </a:solidFill>
              <a:effectLst/>
              <a:latin typeface="Arial" pitchFamily="34" charset="0"/>
              <a:ea typeface="MS PGothic" pitchFamily="34" charset="-128"/>
              <a:sym typeface="Arial" panose="020B0604020202020204" pitchFamily="34" charset="0"/>
            </a:endParaRPr>
          </a:p>
        </p:txBody>
      </p:sp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9994" y="120266"/>
            <a:ext cx="1135201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Haga</a:t>
            </a:r>
            <a:r>
              <a:rPr lang="en-US" noProof="0"/>
              <a:t> </a:t>
            </a:r>
            <a:r>
              <a:rPr lang="en-US" noProof="0" err="1"/>
              <a:t>clic</a:t>
            </a:r>
            <a:r>
              <a:rPr lang="en-US" noProof="0"/>
              <a:t> para </a:t>
            </a:r>
            <a:r>
              <a:rPr lang="en-US" noProof="0" err="1"/>
              <a:t>modificar</a:t>
            </a:r>
            <a:r>
              <a:rPr lang="en-US" noProof="0"/>
              <a:t> el </a:t>
            </a:r>
            <a:r>
              <a:rPr lang="en-US" noProof="0" err="1"/>
              <a:t>estilo</a:t>
            </a:r>
            <a:r>
              <a:rPr lang="en-US" noProof="0"/>
              <a:t> de </a:t>
            </a:r>
            <a:r>
              <a:rPr lang="en-US" noProof="0" err="1"/>
              <a:t>título</a:t>
            </a:r>
            <a:r>
              <a:rPr lang="en-US" noProof="0"/>
              <a:t> del </a:t>
            </a:r>
            <a:r>
              <a:rPr lang="en-US" noProof="0" err="1"/>
              <a:t>patrón</a:t>
            </a:r>
            <a:endParaRPr lang="en-US" noProof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988" y="1260000"/>
            <a:ext cx="11352012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7988" y="6335281"/>
            <a:ext cx="1728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lang="en-GB" sz="600" smtClean="0"/>
            </a:lvl1pPr>
          </a:lstStyle>
          <a:p>
            <a:pPr>
              <a:defRPr/>
            </a:pPr>
            <a:r>
              <a:rPr lang="es-ES">
                <a:solidFill>
                  <a:srgbClr val="696969"/>
                </a:solidFill>
              </a:rPr>
              <a:t>Page  </a:t>
            </a:r>
            <a:fld id="{72A704F9-61CA-4770-B270-3EB3A3A14010}" type="slidenum">
              <a:rPr smtClean="0">
                <a:solidFill>
                  <a:srgbClr val="696969"/>
                </a:solidFill>
              </a:rPr>
              <a:pPr>
                <a:defRPr/>
              </a:pPr>
              <a:t>‹Nº›</a:t>
            </a:fld>
            <a:endParaRPr>
              <a:solidFill>
                <a:srgbClr val="696969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35F2D72-DD17-4B04-A90D-B62B7886452D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988" y="6735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46516025-8FE7-466D-9FC1-A8F17CA632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D8710A53-CC74-450C-985F-5930CBA1EB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"/>
              <a:t>Restricted information</a:t>
            </a:r>
          </a:p>
        </p:txBody>
      </p:sp>
    </p:spTree>
    <p:extLst>
      <p:ext uri="{BB962C8B-B14F-4D97-AF65-F5344CB8AC3E}">
        <p14:creationId xmlns:p14="http://schemas.microsoft.com/office/powerpoint/2010/main" val="4023094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40" r:id="rId6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+mj-lt"/>
          <a:ea typeface="MS PGothic" pitchFamily="34" charset="-128"/>
          <a:cs typeface="MS PGothic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8400" indent="-2476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540000" indent="-2714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1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1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5"/>
            </p:custDataLst>
          </p:nvPr>
        </p:nvGraphicFramePr>
        <p:xfrm>
          <a:off x="215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60" imgH="360" progId="">
                  <p:embed/>
                </p:oleObj>
              </mc:Choice>
              <mc:Fallback>
                <p:oleObj name="think-cell Slide" r:id="rId36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9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7989" y="360000"/>
            <a:ext cx="1135201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989" y="1260000"/>
            <a:ext cx="11352012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7988" y="6335281"/>
            <a:ext cx="1728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lang="en-GB" sz="600" smtClean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72A704F9-61CA-4770-B270-3EB3A3A14010}" type="slidenum">
              <a:rPr smtClean="0"/>
              <a:pPr>
                <a:defRPr/>
              </a:pPr>
              <a:t>‹Nº›</a:t>
            </a:fld>
            <a:endParaRPr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5E89B35-29B3-DC47-93BE-21746182294B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0658200" y="6098540"/>
            <a:ext cx="1190699" cy="6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022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121" r:id="rId2"/>
    <p:sldLayoutId id="2147484122" r:id="rId3"/>
    <p:sldLayoutId id="2147484123" r:id="rId4"/>
    <p:sldLayoutId id="2147484124" r:id="rId5"/>
    <p:sldLayoutId id="2147484125" r:id="rId6"/>
    <p:sldLayoutId id="2147484126" r:id="rId7"/>
    <p:sldLayoutId id="2147484127" r:id="rId8"/>
    <p:sldLayoutId id="2147484128" r:id="rId9"/>
    <p:sldLayoutId id="2147484129" r:id="rId10"/>
    <p:sldLayoutId id="2147484130" r:id="rId11"/>
    <p:sldLayoutId id="2147484131" r:id="rId12"/>
    <p:sldLayoutId id="2147484132" r:id="rId13"/>
    <p:sldLayoutId id="2147484133" r:id="rId14"/>
    <p:sldLayoutId id="2147484134" r:id="rId15"/>
    <p:sldLayoutId id="2147484135" r:id="rId16"/>
    <p:sldLayoutId id="2147484136" r:id="rId17"/>
    <p:sldLayoutId id="2147484137" r:id="rId18"/>
    <p:sldLayoutId id="2147484138" r:id="rId19"/>
    <p:sldLayoutId id="2147484139" r:id="rId20"/>
    <p:sldLayoutId id="2147484140" r:id="rId21"/>
    <p:sldLayoutId id="2147484141" r:id="rId22"/>
    <p:sldLayoutId id="2147484142" r:id="rId23"/>
    <p:sldLayoutId id="2147484143" r:id="rId24"/>
    <p:sldLayoutId id="2147484144" r:id="rId25"/>
    <p:sldLayoutId id="2147484145" r:id="rId26"/>
    <p:sldLayoutId id="2147484146" r:id="rId27"/>
    <p:sldLayoutId id="2147484147" r:id="rId28"/>
    <p:sldLayoutId id="2147484148" r:id="rId29"/>
    <p:sldLayoutId id="2147484149" r:id="rId30"/>
    <p:sldLayoutId id="2147484150" r:id="rId31"/>
    <p:sldLayoutId id="2147484151" r:id="rId32"/>
    <p:sldLayoutId id="2147484153" r:id="rId3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33" b="1" i="0" baseline="0">
          <a:solidFill>
            <a:schemeClr val="tx1"/>
          </a:solidFill>
          <a:latin typeface="+mj-lt"/>
          <a:ea typeface="MS PGothic" pitchFamily="34" charset="-128"/>
          <a:cs typeface="MS PGothic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8394" indent="-247644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539987" indent="-271456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333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809605" indent="-265107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067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1081061" indent="-26986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67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1352517" indent="-26986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067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1809705" indent="-26986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894" indent="-26986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083" indent="-26986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271" indent="-26986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0551A4E5-13BB-465F-9D1F-DFC78D7E79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68F1EA8-3F98-4C99-8C80-F1A7CD1939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EB8F6F9-A4B8-402E-9E35-16435C644E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6C2D21-15BE-4262-8A01-FE91E45A631A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6685B1F-D3EE-4C8A-984D-B3C5219750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AD81A37-3BA8-410E-92D9-C0647A7196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A32F69-C48D-48AD-BDD3-CDC3C9CFF5EF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66454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5" r:id="rId1"/>
    <p:sldLayoutId id="2147484156" r:id="rId2"/>
    <p:sldLayoutId id="2147484157" r:id="rId3"/>
    <p:sldLayoutId id="2147484158" r:id="rId4"/>
    <p:sldLayoutId id="2147484159" r:id="rId5"/>
    <p:sldLayoutId id="2147484160" r:id="rId6"/>
    <p:sldLayoutId id="2147484161" r:id="rId7"/>
    <p:sldLayoutId id="2147484162" r:id="rId8"/>
    <p:sldLayoutId id="2147484163" r:id="rId9"/>
    <p:sldLayoutId id="2147484164" r:id="rId10"/>
    <p:sldLayoutId id="214748416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1A4272FE-8E72-412B-B75B-AD29A29CD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AEA96683-3C55-4A54-A9A4-6EEAAB4C7A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51CB4A7-5840-4657-9A60-EF3751CF88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32184B-7A42-47AA-9685-353EE8F8284B}" type="datetimeFigureOut">
              <a:rPr lang="es-ES" smtClean="0"/>
              <a:t>29/11/2023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45DB76C-3BD9-4728-AE3A-65CC7C6D19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5B17996-880F-4896-9DCF-D2C25545E7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DF26CF-8CE5-41D7-8B93-43766A39A5F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0937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  <p:sldLayoutId id="2147484170" r:id="rId4"/>
    <p:sldLayoutId id="2147484171" r:id="rId5"/>
    <p:sldLayoutId id="2147484172" r:id="rId6"/>
    <p:sldLayoutId id="2147484173" r:id="rId7"/>
    <p:sldLayoutId id="2147484174" r:id="rId8"/>
    <p:sldLayoutId id="2147484175" r:id="rId9"/>
    <p:sldLayoutId id="2147484176" r:id="rId10"/>
    <p:sldLayoutId id="21474841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a 8">
            <a:extLst>
              <a:ext uri="{FF2B5EF4-FFF2-40B4-BE49-F238E27FC236}">
                <a16:creationId xmlns:a16="http://schemas.microsoft.com/office/drawing/2014/main" id="{E067C03B-EEAD-4200-8F69-9B10A90025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86118"/>
              </p:ext>
            </p:extLst>
          </p:nvPr>
        </p:nvGraphicFramePr>
        <p:xfrm>
          <a:off x="441434" y="227030"/>
          <a:ext cx="11459962" cy="6455244"/>
        </p:xfrm>
        <a:graphic>
          <a:graphicData uri="http://schemas.openxmlformats.org/drawingml/2006/table">
            <a:tbl>
              <a:tblPr firstRow="1" bandRow="1">
                <a:tableStyleId>{1E171933-4619-4E11-9A3F-F7608DF75F80}</a:tableStyleId>
              </a:tblPr>
              <a:tblGrid>
                <a:gridCol w="1487165">
                  <a:extLst>
                    <a:ext uri="{9D8B030D-6E8A-4147-A177-3AD203B41FA5}">
                      <a16:colId xmlns:a16="http://schemas.microsoft.com/office/drawing/2014/main" val="1486399022"/>
                    </a:ext>
                  </a:extLst>
                </a:gridCol>
                <a:gridCol w="8695409">
                  <a:extLst>
                    <a:ext uri="{9D8B030D-6E8A-4147-A177-3AD203B41FA5}">
                      <a16:colId xmlns:a16="http://schemas.microsoft.com/office/drawing/2014/main" val="136850437"/>
                    </a:ext>
                  </a:extLst>
                </a:gridCol>
                <a:gridCol w="1277388">
                  <a:extLst>
                    <a:ext uri="{9D8B030D-6E8A-4147-A177-3AD203B41FA5}">
                      <a16:colId xmlns:a16="http://schemas.microsoft.com/office/drawing/2014/main" val="4148964650"/>
                    </a:ext>
                  </a:extLst>
                </a:gridCol>
              </a:tblGrid>
              <a:tr h="375415">
                <a:tc gridSpan="2">
                  <a:txBody>
                    <a:bodyPr/>
                    <a:lstStyle/>
                    <a:p>
                      <a:r>
                        <a:rPr lang="es-ES" sz="1800" dirty="0"/>
                        <a:t>Entregable Desempeño Ambiental 2023: &lt;NOMBRE EMPRESA CONTRATISTA&gt;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dirty="0"/>
                        <a:t>IT-SGA-0102</a:t>
                      </a:r>
                    </a:p>
                    <a:p>
                      <a:pPr algn="ctr"/>
                      <a:r>
                        <a:rPr lang="es-ES" sz="1100" dirty="0"/>
                        <a:t>(</a:t>
                      </a:r>
                      <a:r>
                        <a:rPr lang="es-ES" sz="1100"/>
                        <a:t>Anexo IV</a:t>
                      </a:r>
                      <a:r>
                        <a:rPr lang="es-ES" sz="1100" dirty="0"/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062208"/>
                  </a:ext>
                </a:extLst>
              </a:tr>
              <a:tr h="593889">
                <a:tc gridSpan="3"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ES" sz="1200" b="1" dirty="0">
                          <a:solidFill>
                            <a:srgbClr val="257139"/>
                          </a:solidFill>
                        </a:rPr>
                        <a:t>CAMBIOS PREVISTOS EN MATERIA AMBIENTAL: </a:t>
                      </a:r>
                      <a:r>
                        <a:rPr lang="es-ES" sz="1200" b="0" dirty="0">
                          <a:solidFill>
                            <a:schemeClr val="tx1"/>
                          </a:solidFill>
                        </a:rPr>
                        <a:t>Si se han detectado cambios en el Contexto de la empresa, en los Requisitos Legales u otros Requisitos, en los Aspectos Ambientales Significativos, en los Riesgos y Oportunidades detectados…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6384123"/>
                  </a:ext>
                </a:extLst>
              </a:tr>
              <a:tr h="593889">
                <a:tc>
                  <a:txBody>
                    <a:bodyPr/>
                    <a:lstStyle/>
                    <a:p>
                      <a:pPr marL="0" indent="0" algn="l" defTabSz="914377" rtl="0" eaLnBrk="1" latinLnBrk="0" hangingPunct="1">
                        <a:buFont typeface="+mj-lt"/>
                        <a:buNone/>
                      </a:pPr>
                      <a:r>
                        <a:rPr lang="es-ES" sz="1200" b="1" kern="1200" dirty="0">
                          <a:solidFill>
                            <a:srgbClr val="257139"/>
                          </a:solidFill>
                          <a:latin typeface="+mn-lt"/>
                          <a:ea typeface="+mn-ea"/>
                          <a:cs typeface="+mn-cs"/>
                        </a:rPr>
                        <a:t>OBJETIVOS AMBIENTAL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200" kern="1200" dirty="0">
                          <a:solidFill>
                            <a:schemeClr val="dk1"/>
                          </a:solidFill>
                        </a:rPr>
                        <a:t>Comentar los objetivos marcados para el 2023 y su grado de cumplimentación</a:t>
                      </a:r>
                    </a:p>
                    <a:p>
                      <a:pPr marL="171450" marR="0" lvl="0" indent="-1714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200" kern="1200" dirty="0">
                          <a:solidFill>
                            <a:schemeClr val="dk1"/>
                          </a:solidFill>
                        </a:rPr>
                        <a:t>Comentar los objetivos fijados para el 2024</a:t>
                      </a:r>
                      <a:endParaRPr lang="es-ES" sz="1200" b="1" kern="1200" dirty="0">
                        <a:solidFill>
                          <a:srgbClr val="25713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3474714"/>
                  </a:ext>
                </a:extLst>
              </a:tr>
              <a:tr h="593889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1" dirty="0">
                          <a:solidFill>
                            <a:srgbClr val="257139"/>
                          </a:solidFill>
                          <a:cs typeface="Arial"/>
                        </a:rPr>
                        <a:t>OTROS INDICADORES (KPI)</a:t>
                      </a:r>
                      <a:endParaRPr lang="es-ES" sz="800" dirty="0">
                        <a:solidFill>
                          <a:srgbClr val="257139"/>
                        </a:solidFill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200" kern="1200" dirty="0">
                          <a:solidFill>
                            <a:schemeClr val="dk1"/>
                          </a:solidFill>
                        </a:rPr>
                        <a:t>Comentar otros KPIs marcados para el 2023 y su grado de cumplimentación</a:t>
                      </a:r>
                    </a:p>
                    <a:p>
                      <a:pPr marL="171450" marR="0" lvl="0" indent="-1714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200" kern="1200" dirty="0">
                          <a:solidFill>
                            <a:schemeClr val="dk1"/>
                          </a:solidFill>
                        </a:rPr>
                        <a:t>Comentar los KPIs fijados para el 2024</a:t>
                      </a:r>
                      <a:endParaRPr lang="es-ES" sz="800" dirty="0">
                        <a:solidFill>
                          <a:srgbClr val="257139"/>
                        </a:solidFill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4903987"/>
                  </a:ext>
                </a:extLst>
              </a:tr>
              <a:tr h="623973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s-ES" sz="1200" b="1" kern="1200" dirty="0">
                          <a:solidFill>
                            <a:srgbClr val="257139"/>
                          </a:solidFill>
                          <a:latin typeface="+mn-lt"/>
                          <a:ea typeface="+mn-ea"/>
                          <a:cs typeface="+mn-cs"/>
                        </a:rPr>
                        <a:t>INCIDENTES O ACCIDENTES AMBIENTAL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200" kern="1200" dirty="0">
                          <a:solidFill>
                            <a:schemeClr val="dk1"/>
                          </a:solidFill>
                        </a:rPr>
                        <a:t>Resumen de los incidentes/accidentes ocurridos</a:t>
                      </a:r>
                    </a:p>
                    <a:p>
                      <a:pPr marL="171450" marR="0" lvl="0" indent="-1714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200" kern="1200" dirty="0">
                          <a:solidFill>
                            <a:schemeClr val="dk1"/>
                          </a:solidFill>
                          <a:cs typeface="Arial"/>
                        </a:rPr>
                        <a:t>No conformidades abiertas y acciones correctivas resultantes</a:t>
                      </a:r>
                    </a:p>
                    <a:p>
                      <a:pPr marL="171450" marR="0" lvl="0" indent="-1714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200" kern="1200" dirty="0">
                          <a:solidFill>
                            <a:schemeClr val="dk1"/>
                          </a:solidFill>
                          <a:cs typeface="Arial"/>
                        </a:rPr>
                        <a:t>Seguimiento de las medidas preventivas y correctivas establecidas</a:t>
                      </a:r>
                      <a:endParaRPr lang="es-ES" sz="800" dirty="0">
                        <a:solidFill>
                          <a:srgbClr val="257139"/>
                        </a:solidFill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9214897"/>
                  </a:ext>
                </a:extLst>
              </a:tr>
              <a:tr h="623973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s-ES" sz="1200" b="1" kern="1200" dirty="0">
                          <a:solidFill>
                            <a:srgbClr val="257139"/>
                          </a:solidFill>
                          <a:latin typeface="+mn-lt"/>
                          <a:ea typeface="+mn-ea"/>
                          <a:cs typeface="+mn-cs"/>
                        </a:rPr>
                        <a:t>INSPECCIONES Y AUDITORÍAS AMBIENTAL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E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úmero de Inspecciones Ambientales realizadas en 2023 y comentar las conclusion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E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ditorías Internas o Externa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8983638"/>
                  </a:ext>
                </a:extLst>
              </a:tr>
              <a:tr h="618086">
                <a:tc gridSpan="3"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57139"/>
                          </a:solidFill>
                          <a:effectLst/>
                          <a:uLnTx/>
                          <a:uFillTx/>
                          <a:latin typeface="Arial"/>
                          <a:ea typeface="MS PGothic"/>
                          <a:cs typeface="+mn-cs"/>
                        </a:rPr>
                        <a:t>OPORTUNIDADES DE MEJORA Y ADECUACIÓN DE RECURSOS: </a:t>
                      </a:r>
                      <a:r>
                        <a:rPr kumimoji="0" lang="es-E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14141"/>
                          </a:solidFill>
                          <a:effectLst/>
                          <a:uLnTx/>
                          <a:uFillTx/>
                          <a:latin typeface="Arial"/>
                          <a:ea typeface="MS PGothic"/>
                          <a:cs typeface="+mn-cs"/>
                        </a:rPr>
                        <a:t>Definir los puntos de mejora previstos para el ejercicio 2024: Consideraciones y decisiones relacionadas con las oportunidades de Mejora Continua y con cualquier necesidad de cambio en la Gestión Ambiental (incluidos los recursos)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14141"/>
                        </a:solidFill>
                        <a:effectLst/>
                        <a:uLnTx/>
                        <a:uFillTx/>
                        <a:latin typeface="Arial"/>
                        <a:ea typeface="MS PGothic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4664940"/>
                  </a:ext>
                </a:extLst>
              </a:tr>
              <a:tr h="530180">
                <a:tc gridSpan="3">
                  <a:txBody>
                    <a:bodyPr/>
                    <a:lstStyle/>
                    <a:p>
                      <a:pPr marL="0" lvl="1" indent="0">
                        <a:buFont typeface="Arial" panose="020B0604020202020204" pitchFamily="34" charset="0"/>
                        <a:buNone/>
                      </a:pPr>
                      <a:r>
                        <a:rPr lang="es-ES" sz="1200" b="1" kern="1200" dirty="0">
                          <a:solidFill>
                            <a:srgbClr val="257139"/>
                          </a:solidFill>
                          <a:latin typeface="+mn-lt"/>
                          <a:ea typeface="+mn-ea"/>
                          <a:cs typeface="+mn-cs"/>
                        </a:rPr>
                        <a:t>BUENA PRÁCTICA IMPLEMENTADA: </a:t>
                      </a:r>
                      <a:r>
                        <a:rPr lang="es-E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</a:t>
                      </a:r>
                      <a:r>
                        <a:rPr lang="es-ES" sz="1200" b="0" dirty="0">
                          <a:solidFill>
                            <a:schemeClr val="tx1"/>
                          </a:solidFill>
                        </a:rPr>
                        <a:t>xplicar cuál es la mejor buena práctica ambiental que se haya desarrollado / implantado en vuestra empresa en 2023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1133303"/>
                  </a:ext>
                </a:extLst>
              </a:tr>
              <a:tr h="620602">
                <a:tc gridSpan="3">
                  <a:txBody>
                    <a:bodyPr/>
                    <a:lstStyle/>
                    <a:p>
                      <a:pPr marL="0" lvl="1" indent="0">
                        <a:buFont typeface="Arial" panose="020B0604020202020204" pitchFamily="34" charset="0"/>
                        <a:buNone/>
                      </a:pPr>
                      <a:r>
                        <a:rPr lang="es-ES" sz="1200" b="1" dirty="0">
                          <a:solidFill>
                            <a:srgbClr val="257139"/>
                          </a:solidFill>
                        </a:rPr>
                        <a:t>ACTIVIDADES DE ORDEN/LIMPIEZA Y RESIDUOS REALIZADAS:</a:t>
                      </a:r>
                      <a:r>
                        <a:rPr lang="es-ES" sz="1200" b="0" dirty="0">
                          <a:solidFill>
                            <a:schemeClr val="tx1"/>
                          </a:solidFill>
                        </a:rPr>
                        <a:t> Acciones desarrolladas respecto Orden/Limpieza y Gestión de Residuos en las instalaciones donde se desarrolla la activida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3412726"/>
                  </a:ext>
                </a:extLst>
              </a:tr>
              <a:tr h="603316">
                <a:tc gridSpan="3"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1" kern="1200" dirty="0">
                          <a:solidFill>
                            <a:srgbClr val="257139"/>
                          </a:solidFill>
                          <a:latin typeface="+mn-lt"/>
                          <a:ea typeface="+mn-ea"/>
                          <a:cs typeface="+mn-cs"/>
                        </a:rPr>
                        <a:t>ACCIONES NECESARIAS CUANDO NO SE HAYAN LOGRADO LOS OBJETIVOS: </a:t>
                      </a:r>
                      <a:r>
                        <a:rPr lang="es-E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xto lib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027952"/>
                  </a:ext>
                </a:extLst>
              </a:tr>
              <a:tr h="548322">
                <a:tc gridSpan="3"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b="1" dirty="0">
                          <a:solidFill>
                            <a:srgbClr val="257139"/>
                          </a:solidFill>
                        </a:rPr>
                        <a:t>OTROS ASPECTOS O ACCIONES QUE QUERÁIS DESTACAR QUE HAYÁIS REALIZADO ESTE AÑO Y QUERÁIS COMPARTIR: </a:t>
                      </a:r>
                      <a:r>
                        <a:rPr lang="es-ES" sz="1200" b="0" dirty="0">
                          <a:solidFill>
                            <a:schemeClr val="tx1"/>
                          </a:solidFill>
                        </a:rPr>
                        <a:t>Texto lib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816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58002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903775-8DA9-486D-8DDE-5C2CEE04CE9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21638" y="226146"/>
            <a:ext cx="11352012" cy="432000"/>
          </a:xfrm>
        </p:spPr>
        <p:txBody>
          <a:bodyPr/>
          <a:lstStyle/>
          <a:p>
            <a:r>
              <a:rPr lang="es-ES" dirty="0"/>
              <a:t>Instrucciones cumplimentación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9CB4FC56-0F51-48D2-85FA-6C27D981FCA0}"/>
              </a:ext>
            </a:extLst>
          </p:cNvPr>
          <p:cNvSpPr/>
          <p:nvPr/>
        </p:nvSpPr>
        <p:spPr>
          <a:xfrm>
            <a:off x="819458" y="889012"/>
            <a:ext cx="1015637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Completar los datos sobre la tabla. Si veis que no cabe podéis fragmentar la tabla y poner la información en varias diapositiva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Contestar a los apartados de forma breve y resumid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Se pueden añadir diapositivas adicionales con fotos y con la información adicional necesaria.</a:t>
            </a:r>
          </a:p>
          <a:p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b="1" dirty="0"/>
              <a:t>Se ruega enviar el archivo en formato PPT. No enviar en PDF. 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097494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41V.ePHFNolbwAmU1y6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uIAxu7c8KoWyZv4H7_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AM_Template7">
  <a:themeElements>
    <a:clrScheme name="AM_Template7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AM_Template7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1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1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lnDef>
  </a:objectDefaults>
  <a:extraClrSchemeLst>
    <a:extraClrScheme>
      <a:clrScheme name="AM_Template7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8_PresentationV8">
  <a:themeElements>
    <a:clrScheme name="ArcelorMittal">
      <a:dk1>
        <a:srgbClr val="696969"/>
      </a:dk1>
      <a:lt1>
        <a:srgbClr val="FFFFFF"/>
      </a:lt1>
      <a:dk2>
        <a:srgbClr val="FF3700"/>
      </a:dk2>
      <a:lt2>
        <a:srgbClr val="C5BCA4"/>
      </a:lt2>
      <a:accent1>
        <a:srgbClr val="0070C0"/>
      </a:accent1>
      <a:accent2>
        <a:srgbClr val="8B819E"/>
      </a:accent2>
      <a:accent3>
        <a:srgbClr val="5C7F92"/>
      </a:accent3>
      <a:accent4>
        <a:srgbClr val="70A489"/>
      </a:accent4>
      <a:accent5>
        <a:srgbClr val="C88F42"/>
      </a:accent5>
      <a:accent6>
        <a:srgbClr val="8B819E"/>
      </a:accent6>
      <a:hlink>
        <a:srgbClr val="9DB1C9"/>
      </a:hlink>
      <a:folHlink>
        <a:srgbClr val="BAC48C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rcelorMittal_ppt_16x9_ES_conDirectricesUso" id="{0F2E1BD3-F101-4200-A647-565E47ABED37}" vid="{3DD46B13-52A4-4042-9C7A-3EB1A55C4D6E}"/>
    </a:ext>
  </a:extLst>
</a:theme>
</file>

<file path=ppt/theme/theme3.xml><?xml version="1.0" encoding="utf-8"?>
<a:theme xmlns:a="http://schemas.openxmlformats.org/drawingml/2006/main" name="9_PresentationV8">
  <a:themeElements>
    <a:clrScheme name="AM 2022">
      <a:dk1>
        <a:srgbClr val="414141"/>
      </a:dk1>
      <a:lt1>
        <a:srgbClr val="FFFFFF"/>
      </a:lt1>
      <a:dk2>
        <a:srgbClr val="FF3700"/>
      </a:dk2>
      <a:lt2>
        <a:srgbClr val="0070C0"/>
      </a:lt2>
      <a:accent1>
        <a:srgbClr val="460A78"/>
      </a:accent1>
      <a:accent2>
        <a:srgbClr val="BE2878"/>
      </a:accent2>
      <a:accent3>
        <a:srgbClr val="E63C41"/>
      </a:accent3>
      <a:accent4>
        <a:srgbClr val="F58746"/>
      </a:accent4>
      <a:accent5>
        <a:srgbClr val="FFBE6E"/>
      </a:accent5>
      <a:accent6>
        <a:srgbClr val="EAEAEA"/>
      </a:accent6>
      <a:hlink>
        <a:srgbClr val="505050"/>
      </a:hlink>
      <a:folHlink>
        <a:srgbClr val="414141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rcelorMittal template 16x9" id="{2080C811-E281-4F53-A338-B1B429535C64}" vid="{EAE1C29F-A62A-497F-AC0B-627198192CCD}"/>
    </a:ext>
  </a:extLst>
</a:theme>
</file>

<file path=ppt/theme/theme4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3B0F868E1F9834C802D400B0AA57242" ma:contentTypeVersion="4" ma:contentTypeDescription="Crear nuevo documento." ma:contentTypeScope="" ma:versionID="df52ab64363fa8c5bd5bdfa8e1a14048">
  <xsd:schema xmlns:xsd="http://www.w3.org/2001/XMLSchema" xmlns:xs="http://www.w3.org/2001/XMLSchema" xmlns:p="http://schemas.microsoft.com/office/2006/metadata/properties" xmlns:ns2="57e7e606-0fa1-4616-80b3-d75755830b73" targetNamespace="http://schemas.microsoft.com/office/2006/metadata/properties" ma:root="true" ma:fieldsID="ba507c4c35d3258e43cc2c22542d1baa" ns2:_="">
    <xsd:import namespace="57e7e606-0fa1-4616-80b3-d75755830b7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e7e606-0fa1-4616-80b3-d75755830b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45A9BF-BAD8-447D-A42D-452CBD02FB7B}">
  <ds:schemaRefs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FB3886A1-A3E8-4DEB-8D6A-D5607D70D41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4C0841E-1B6D-4D1D-911B-46035B9E9B6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7e7e606-0fa1-4616-80b3-d75755830b7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rcelorMittal template 16x9</Template>
  <TotalTime>172</TotalTime>
  <Words>333</Words>
  <Application>Microsoft Office PowerPoint</Application>
  <PresentationFormat>Panorámica</PresentationFormat>
  <Paragraphs>30</Paragraphs>
  <Slides>2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5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2</vt:i4>
      </vt:variant>
    </vt:vector>
  </HeadingPairs>
  <TitlesOfParts>
    <vt:vector size="12" baseType="lpstr">
      <vt:lpstr>Arial</vt:lpstr>
      <vt:lpstr>Calibri</vt:lpstr>
      <vt:lpstr>Calibri Light</vt:lpstr>
      <vt:lpstr>5_AM_Template7</vt:lpstr>
      <vt:lpstr>8_PresentationV8</vt:lpstr>
      <vt:lpstr>9_PresentationV8</vt:lpstr>
      <vt:lpstr>Diseño personalizado</vt:lpstr>
      <vt:lpstr>1_Diseño personalizado</vt:lpstr>
      <vt:lpstr>Diapositiva de think-cell</vt:lpstr>
      <vt:lpstr>think-cell Slide</vt:lpstr>
      <vt:lpstr>Presentación de PowerPoint</vt:lpstr>
      <vt:lpstr>Instrucciones cumplimentació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uden, Ian</dc:creator>
  <cp:lastModifiedBy>Bedia, Mayda</cp:lastModifiedBy>
  <cp:revision>176</cp:revision>
  <cp:lastPrinted>2021-12-15T14:03:39Z</cp:lastPrinted>
  <dcterms:created xsi:type="dcterms:W3CDTF">2019-08-07T16:42:59Z</dcterms:created>
  <dcterms:modified xsi:type="dcterms:W3CDTF">2023-11-29T13:2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3B0F868E1F9834C802D400B0AA57242</vt:lpwstr>
  </property>
</Properties>
</file>